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>
  <p:sldMasterIdLst>
    <p:sldMasterId id="2147483688" r:id="rId1"/>
  </p:sldMasterIdLst>
  <p:notesMasterIdLst>
    <p:notesMasterId r:id="rId7"/>
  </p:notesMasterIdLst>
  <p:handoutMasterIdLst>
    <p:handoutMasterId r:id="rId8"/>
  </p:handoutMasterIdLst>
  <p:sldIdLst>
    <p:sldId id="275" r:id="rId2"/>
    <p:sldId id="290" r:id="rId3"/>
    <p:sldId id="285" r:id="rId4"/>
    <p:sldId id="282" r:id="rId5"/>
    <p:sldId id="288" r:id="rId6"/>
  </p:sldIdLst>
  <p:sldSz cx="10691813" cy="7559675"/>
  <p:notesSz cx="6735763" cy="9866313"/>
  <p:embeddedFontLst>
    <p:embeddedFont>
      <p:font typeface="Calibri" panose="020F0502020204030204" pitchFamily="34" charset="0"/>
      <p:regular r:id="rId9"/>
      <p:bold r:id="rId10"/>
      <p:italic r:id="rId11"/>
      <p:boldItalic r:id="rId12"/>
    </p:embeddedFont>
    <p:embeddedFont>
      <p:font typeface="Calibri Light" panose="020F0302020204030204" pitchFamily="34" charset="0"/>
      <p:regular r:id="rId13"/>
      <p:italic r:id="rId14"/>
    </p:embeddedFont>
  </p:embeddedFont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381" userDrawn="1">
          <p15:clr>
            <a:srgbClr val="A4A3A4"/>
          </p15:clr>
        </p15:guide>
        <p15:guide id="2" pos="3458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loop="1"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94E14"/>
    <a:srgbClr val="00B050"/>
    <a:srgbClr val="DB4713"/>
    <a:srgbClr val="FF5100"/>
    <a:srgbClr val="B1FDCE"/>
    <a:srgbClr val="75FBA8"/>
    <a:srgbClr val="24F875"/>
    <a:srgbClr val="00D661"/>
    <a:srgbClr val="57FFA3"/>
    <a:srgbClr val="00DE6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5082" autoAdjust="0"/>
  </p:normalViewPr>
  <p:slideViewPr>
    <p:cSldViewPr snapToGrid="0">
      <p:cViewPr varScale="1">
        <p:scale>
          <a:sx n="75" d="100"/>
          <a:sy n="75" d="100"/>
        </p:scale>
        <p:origin x="1301" y="43"/>
      </p:cViewPr>
      <p:guideLst>
        <p:guide orient="horz" pos="2381"/>
        <p:guide pos="3458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97" d="100"/>
          <a:sy n="97" d="100"/>
        </p:scale>
        <p:origin x="3534" y="7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handoutMaster" Target="handoutMasters/handoutMaster1.xml"/><Relationship Id="rId13" Type="http://schemas.openxmlformats.org/officeDocument/2006/relationships/font" Target="fonts/font5.fntdata"/><Relationship Id="rId1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notesMaster" Target="notesMasters/notesMaster1.xml"/><Relationship Id="rId12" Type="http://schemas.openxmlformats.org/officeDocument/2006/relationships/font" Target="fonts/font4.fntdata"/><Relationship Id="rId17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font" Target="fonts/font3.fntdata"/><Relationship Id="rId5" Type="http://schemas.openxmlformats.org/officeDocument/2006/relationships/slide" Target="slides/slide4.xml"/><Relationship Id="rId15" Type="http://schemas.openxmlformats.org/officeDocument/2006/relationships/presProps" Target="presProps.xml"/><Relationship Id="rId10" Type="http://schemas.openxmlformats.org/officeDocument/2006/relationships/font" Target="fonts/font2.fntdata"/><Relationship Id="rId4" Type="http://schemas.openxmlformats.org/officeDocument/2006/relationships/slide" Target="slides/slide3.xml"/><Relationship Id="rId9" Type="http://schemas.openxmlformats.org/officeDocument/2006/relationships/font" Target="fonts/font1.fntdata"/><Relationship Id="rId14" Type="http://schemas.openxmlformats.org/officeDocument/2006/relationships/font" Target="fonts/font6.fntdata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Продажи</c:v>
                </c:pt>
              </c:strCache>
            </c:strRef>
          </c:tx>
          <c:dPt>
            <c:idx val="0"/>
            <c:bubble3D val="0"/>
            <c:spPr>
              <a:solidFill>
                <a:srgbClr val="5B9BD5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34F0-4442-BF62-D573DAB37BCC}"/>
              </c:ext>
            </c:extLst>
          </c:dPt>
          <c:dPt>
            <c:idx val="1"/>
            <c:bubble3D val="0"/>
            <c:spPr>
              <a:solidFill>
                <a:srgbClr val="ED7D3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2-34F0-4442-BF62-D573DAB37BCC}"/>
              </c:ext>
            </c:extLst>
          </c:dPt>
          <c:dPt>
            <c:idx val="2"/>
            <c:bubble3D val="0"/>
            <c:spPr>
              <a:solidFill>
                <a:srgbClr val="A5A5A5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34F0-4442-BF62-D573DAB37BCC}"/>
              </c:ext>
            </c:extLst>
          </c:dPt>
          <c:dPt>
            <c:idx val="3"/>
            <c:bubble3D val="0"/>
            <c:spPr>
              <a:solidFill>
                <a:srgbClr val="FFC000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4-34F0-4442-BF62-D573DAB37BCC}"/>
              </c:ext>
            </c:extLst>
          </c:dPt>
          <c:cat>
            <c:strRef>
              <c:f>Лист1!$A$2:$A$5</c:f>
              <c:strCache>
                <c:ptCount val="4"/>
                <c:pt idx="0">
                  <c:v>Кв. 1</c:v>
                </c:pt>
                <c:pt idx="1">
                  <c:v>Кв. 2</c:v>
                </c:pt>
                <c:pt idx="2">
                  <c:v>Кв. 3</c:v>
                </c:pt>
                <c:pt idx="3">
                  <c:v>Кв. 4</c:v>
                </c:pt>
              </c:strCache>
            </c:strRef>
          </c:cat>
          <c:val>
            <c:numRef>
              <c:f>Лист1!$B$2:$B$5</c:f>
              <c:numCache>
                <c:formatCode>General</c:formatCode>
                <c:ptCount val="4"/>
                <c:pt idx="0">
                  <c:v>180</c:v>
                </c:pt>
                <c:pt idx="1">
                  <c:v>132</c:v>
                </c:pt>
                <c:pt idx="2">
                  <c:v>59</c:v>
                </c:pt>
                <c:pt idx="3">
                  <c:v>1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4F0-4442-BF62-D573DAB37BC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55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18831" cy="495029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15373" y="0"/>
            <a:ext cx="2918831" cy="495029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6B158A0-817C-4E5F-A6F4-43EBB0113BC1}" type="datetimeFigureOut">
              <a:rPr lang="ru-RU" smtClean="0"/>
              <a:t>13.09.2021</a:t>
            </a:fld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15373" y="9371286"/>
            <a:ext cx="2918831" cy="49502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294C1FD-C5D7-4F6E-B700-FBD2C97B6C0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7809973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18831" cy="495029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15373" y="0"/>
            <a:ext cx="2918831" cy="495029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76E103B-1573-4AC9-A522-C322259F906B}" type="datetimeFigureOut">
              <a:rPr lang="ru-RU" smtClean="0"/>
              <a:t>13.09.2021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1014413" y="1233488"/>
            <a:ext cx="4706937" cy="33289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3577" y="4748163"/>
            <a:ext cx="5388610" cy="3884861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371286"/>
            <a:ext cx="2918831" cy="49502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15373" y="9371286"/>
            <a:ext cx="2918831" cy="49502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6D77A7C-8A8F-4EA3-B0AC-B79588DC0ABD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19985839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761317" rtl="0" eaLnBrk="1" latinLnBrk="0" hangingPunct="1">
      <a:defRPr sz="999" kern="1200">
        <a:solidFill>
          <a:schemeClr val="tx1"/>
        </a:solidFill>
        <a:latin typeface="+mn-lt"/>
        <a:ea typeface="+mn-ea"/>
        <a:cs typeface="+mn-cs"/>
      </a:defRPr>
    </a:lvl1pPr>
    <a:lvl2pPr marL="380658" algn="l" defTabSz="761317" rtl="0" eaLnBrk="1" latinLnBrk="0" hangingPunct="1">
      <a:defRPr sz="999" kern="1200">
        <a:solidFill>
          <a:schemeClr val="tx1"/>
        </a:solidFill>
        <a:latin typeface="+mn-lt"/>
        <a:ea typeface="+mn-ea"/>
        <a:cs typeface="+mn-cs"/>
      </a:defRPr>
    </a:lvl2pPr>
    <a:lvl3pPr marL="761317" algn="l" defTabSz="761317" rtl="0" eaLnBrk="1" latinLnBrk="0" hangingPunct="1">
      <a:defRPr sz="999" kern="1200">
        <a:solidFill>
          <a:schemeClr val="tx1"/>
        </a:solidFill>
        <a:latin typeface="+mn-lt"/>
        <a:ea typeface="+mn-ea"/>
        <a:cs typeface="+mn-cs"/>
      </a:defRPr>
    </a:lvl3pPr>
    <a:lvl4pPr marL="1141975" algn="l" defTabSz="761317" rtl="0" eaLnBrk="1" latinLnBrk="0" hangingPunct="1">
      <a:defRPr sz="999" kern="1200">
        <a:solidFill>
          <a:schemeClr val="tx1"/>
        </a:solidFill>
        <a:latin typeface="+mn-lt"/>
        <a:ea typeface="+mn-ea"/>
        <a:cs typeface="+mn-cs"/>
      </a:defRPr>
    </a:lvl4pPr>
    <a:lvl5pPr marL="1522633" algn="l" defTabSz="761317" rtl="0" eaLnBrk="1" latinLnBrk="0" hangingPunct="1">
      <a:defRPr sz="999" kern="1200">
        <a:solidFill>
          <a:schemeClr val="tx1"/>
        </a:solidFill>
        <a:latin typeface="+mn-lt"/>
        <a:ea typeface="+mn-ea"/>
        <a:cs typeface="+mn-cs"/>
      </a:defRPr>
    </a:lvl5pPr>
    <a:lvl6pPr marL="1903291" algn="l" defTabSz="761317" rtl="0" eaLnBrk="1" latinLnBrk="0" hangingPunct="1">
      <a:defRPr sz="999" kern="1200">
        <a:solidFill>
          <a:schemeClr val="tx1"/>
        </a:solidFill>
        <a:latin typeface="+mn-lt"/>
        <a:ea typeface="+mn-ea"/>
        <a:cs typeface="+mn-cs"/>
      </a:defRPr>
    </a:lvl6pPr>
    <a:lvl7pPr marL="2283950" algn="l" defTabSz="761317" rtl="0" eaLnBrk="1" latinLnBrk="0" hangingPunct="1">
      <a:defRPr sz="999" kern="1200">
        <a:solidFill>
          <a:schemeClr val="tx1"/>
        </a:solidFill>
        <a:latin typeface="+mn-lt"/>
        <a:ea typeface="+mn-ea"/>
        <a:cs typeface="+mn-cs"/>
      </a:defRPr>
    </a:lvl7pPr>
    <a:lvl8pPr marL="2664608" algn="l" defTabSz="761317" rtl="0" eaLnBrk="1" latinLnBrk="0" hangingPunct="1">
      <a:defRPr sz="999" kern="1200">
        <a:solidFill>
          <a:schemeClr val="tx1"/>
        </a:solidFill>
        <a:latin typeface="+mn-lt"/>
        <a:ea typeface="+mn-ea"/>
        <a:cs typeface="+mn-cs"/>
      </a:defRPr>
    </a:lvl8pPr>
    <a:lvl9pPr marL="3045267" algn="l" defTabSz="761317" rtl="0" eaLnBrk="1" latinLnBrk="0" hangingPunct="1">
      <a:defRPr sz="999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1014413" y="1233488"/>
            <a:ext cx="4706937" cy="3328987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A444FB3-685E-4F96-BF43-86922A547D06}" type="slidenum">
              <a:rPr lang="ru-RU" smtClean="0"/>
              <a:t>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4262574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1014413" y="1233488"/>
            <a:ext cx="4706937" cy="3328987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A444FB3-685E-4F96-BF43-86922A547D06}" type="slidenum">
              <a:rPr lang="ru-RU" smtClean="0"/>
              <a:t>4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27686611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658897">
              <a:defRPr/>
            </a:pPr>
            <a:fld id="{B6D77A7C-8A8F-4EA3-B0AC-B79588DC0ABD}" type="slidenum">
              <a:rPr lang="ru-RU">
                <a:solidFill>
                  <a:prstClr val="black"/>
                </a:solidFill>
                <a:latin typeface="Calibri" panose="020F0502020204030204"/>
              </a:rPr>
              <a:pPr defTabSz="658897">
                <a:defRPr/>
              </a:pPr>
              <a:t>5</a:t>
            </a:fld>
            <a:endParaRPr lang="ru-RU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371030311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01886" y="1237197"/>
            <a:ext cx="9088041" cy="2631887"/>
          </a:xfrm>
        </p:spPr>
        <p:txBody>
          <a:bodyPr anchor="b"/>
          <a:lstStyle>
            <a:lvl1pPr algn="ctr">
              <a:defRPr sz="6614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36477" y="3970580"/>
            <a:ext cx="8018860" cy="1825171"/>
          </a:xfrm>
        </p:spPr>
        <p:txBody>
          <a:bodyPr/>
          <a:lstStyle>
            <a:lvl1pPr marL="0" indent="0" algn="ctr">
              <a:buNone/>
              <a:defRPr sz="2646"/>
            </a:lvl1pPr>
            <a:lvl2pPr marL="503972" indent="0" algn="ctr">
              <a:buNone/>
              <a:defRPr sz="2205"/>
            </a:lvl2pPr>
            <a:lvl3pPr marL="1007943" indent="0" algn="ctr">
              <a:buNone/>
              <a:defRPr sz="1984"/>
            </a:lvl3pPr>
            <a:lvl4pPr marL="1511915" indent="0" algn="ctr">
              <a:buNone/>
              <a:defRPr sz="1764"/>
            </a:lvl4pPr>
            <a:lvl5pPr marL="2015886" indent="0" algn="ctr">
              <a:buNone/>
              <a:defRPr sz="1764"/>
            </a:lvl5pPr>
            <a:lvl6pPr marL="2519858" indent="0" algn="ctr">
              <a:buNone/>
              <a:defRPr sz="1764"/>
            </a:lvl6pPr>
            <a:lvl7pPr marL="3023829" indent="0" algn="ctr">
              <a:buNone/>
              <a:defRPr sz="1764"/>
            </a:lvl7pPr>
            <a:lvl8pPr marL="3527801" indent="0" algn="ctr">
              <a:buNone/>
              <a:defRPr sz="1764"/>
            </a:lvl8pPr>
            <a:lvl9pPr marL="4031772" indent="0" algn="ctr">
              <a:buNone/>
              <a:defRPr sz="1764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B421B1-E4DB-4585-94DD-B4506F452AE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274016833"/>
      </p:ext>
    </p:extLst>
  </p:cSld>
  <p:clrMapOvr>
    <a:masterClrMapping/>
  </p:clrMapOvr>
  <p:hf hdr="0" ft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B421B1-E4DB-4585-94DD-B4506F452AE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93429615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651329" y="402483"/>
            <a:ext cx="2305422" cy="6406475"/>
          </a:xfrm>
        </p:spPr>
        <p:txBody>
          <a:bodyPr vert="eaVert"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735063" y="402483"/>
            <a:ext cx="6782619" cy="6406475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B421B1-E4DB-4585-94DD-B4506F452AE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0257585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 userDrawn="1"/>
        </p:nvSpPr>
        <p:spPr>
          <a:xfrm>
            <a:off x="0" y="0"/>
            <a:ext cx="10691813" cy="7559675"/>
          </a:xfrm>
          <a:prstGeom prst="rect">
            <a:avLst/>
          </a:prstGeom>
          <a:solidFill>
            <a:srgbClr val="FF51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3199" dirty="0">
              <a:latin typeface="+mj-lt"/>
            </a:endParaRPr>
          </a:p>
        </p:txBody>
      </p:sp>
      <p:sp>
        <p:nvSpPr>
          <p:cNvPr id="5" name="Рисунок 6"/>
          <p:cNvSpPr>
            <a:spLocks noGrp="1"/>
          </p:cNvSpPr>
          <p:nvPr>
            <p:ph type="pic" sz="quarter" idx="10" hasCustomPrompt="1"/>
          </p:nvPr>
        </p:nvSpPr>
        <p:spPr>
          <a:xfrm>
            <a:off x="-5399" y="-1"/>
            <a:ext cx="10697212" cy="3796147"/>
          </a:xfrm>
          <a:prstGeom prst="rect">
            <a:avLst/>
          </a:prstGeom>
          <a:solidFill>
            <a:schemeClr val="bg1">
              <a:alpha val="50000"/>
            </a:schemeClr>
          </a:solidFill>
        </p:spPr>
        <p:txBody>
          <a:bodyPr/>
          <a:lstStyle>
            <a:lvl1pPr marL="0" indent="0">
              <a:buNone/>
              <a:defRPr>
                <a:latin typeface="Arial" panose="020B0604020202020204" pitchFamily="34" charset="0"/>
              </a:defRPr>
            </a:lvl1pPr>
          </a:lstStyle>
          <a:p>
            <a:r>
              <a:rPr lang="ru-RU" dirty="0"/>
              <a:t> </a:t>
            </a:r>
          </a:p>
        </p:txBody>
      </p:sp>
      <p:pic>
        <p:nvPicPr>
          <p:cNvPr id="4" name="Рисунок 3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40327" y="4378042"/>
            <a:ext cx="4932218" cy="7930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1502444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Прямая соединительная линия 6"/>
          <p:cNvCxnSpPr/>
          <p:nvPr userDrawn="1"/>
        </p:nvCxnSpPr>
        <p:spPr>
          <a:xfrm>
            <a:off x="360001" y="900000"/>
            <a:ext cx="9971813" cy="0"/>
          </a:xfrm>
          <a:prstGeom prst="line">
            <a:avLst/>
          </a:prstGeom>
          <a:ln w="19050">
            <a:solidFill>
              <a:srgbClr val="FF5100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8" name="Прямая соединительная линия 7"/>
          <p:cNvCxnSpPr/>
          <p:nvPr userDrawn="1"/>
        </p:nvCxnSpPr>
        <p:spPr>
          <a:xfrm>
            <a:off x="360001" y="7199674"/>
            <a:ext cx="9971813" cy="0"/>
          </a:xfrm>
          <a:prstGeom prst="line">
            <a:avLst/>
          </a:prstGeom>
          <a:ln w="9525">
            <a:solidFill>
              <a:srgbClr val="575150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828377" y="7287622"/>
            <a:ext cx="1503437" cy="180001"/>
          </a:xfrm>
        </p:spPr>
        <p:txBody>
          <a:bodyPr/>
          <a:lstStyle>
            <a:lvl1pPr algn="r">
              <a:defRPr sz="1800" b="0">
                <a:solidFill>
                  <a:srgbClr val="575150"/>
                </a:solidFill>
                <a:latin typeface="Calibri" panose="020F0502020204030204" pitchFamily="34" charset="0"/>
              </a:defRPr>
            </a:lvl1pPr>
          </a:lstStyle>
          <a:p>
            <a:fld id="{4D9AA05C-72EC-4F9A-8F8A-11CCF44C0B56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62030" y="0"/>
            <a:ext cx="9691596" cy="900000"/>
          </a:xfrm>
        </p:spPr>
        <p:txBody>
          <a:bodyPr>
            <a:normAutofit/>
          </a:bodyPr>
          <a:lstStyle>
            <a:lvl1pPr>
              <a:defRPr sz="2400" b="1">
                <a:solidFill>
                  <a:srgbClr val="FF510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279497831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he mai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F0907AC0-AE4B-455E-95E2-5966255FD20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264" y="1588"/>
          <a:ext cx="1263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F0907AC0-AE4B-455E-95E2-5966255FD20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264" y="1588"/>
                        <a:ext cx="1263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657F9947-988D-4D7F-9C75-2CB4EF62A9C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26292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ru-RU" sz="18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cxnSp>
        <p:nvCxnSpPr>
          <p:cNvPr id="7" name="Прямая соединительная линия 6"/>
          <p:cNvCxnSpPr/>
          <p:nvPr userDrawn="1"/>
        </p:nvCxnSpPr>
        <p:spPr>
          <a:xfrm>
            <a:off x="360001" y="900000"/>
            <a:ext cx="9971813" cy="0"/>
          </a:xfrm>
          <a:prstGeom prst="line">
            <a:avLst/>
          </a:prstGeom>
          <a:ln w="19050">
            <a:solidFill>
              <a:srgbClr val="E94E14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8" name="Прямая соединительная линия 7"/>
          <p:cNvCxnSpPr/>
          <p:nvPr userDrawn="1"/>
        </p:nvCxnSpPr>
        <p:spPr>
          <a:xfrm>
            <a:off x="360001" y="7199674"/>
            <a:ext cx="9971813" cy="0"/>
          </a:xfrm>
          <a:prstGeom prst="line">
            <a:avLst/>
          </a:prstGeom>
          <a:ln w="9525">
            <a:solidFill>
              <a:srgbClr val="575150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60001" y="228601"/>
            <a:ext cx="9971813" cy="671399"/>
          </a:xfrm>
        </p:spPr>
        <p:txBody>
          <a:bodyPr lIns="0" tIns="0" rIns="0" bIns="0">
            <a:noAutofit/>
          </a:bodyPr>
          <a:lstStyle>
            <a:lvl1pPr>
              <a:defRPr sz="1800" b="1">
                <a:solidFill>
                  <a:srgbClr val="E94E1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194409009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B421B1-E4DB-4585-94DD-B4506F452AE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21691003"/>
      </p:ext>
    </p:extLst>
  </p:cSld>
  <p:clrMapOvr>
    <a:masterClrMapping/>
  </p:clrMapOvr>
  <p:hf hdr="0" ftr="0" dt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9494" y="1884671"/>
            <a:ext cx="9221689" cy="3144614"/>
          </a:xfrm>
        </p:spPr>
        <p:txBody>
          <a:bodyPr anchor="b"/>
          <a:lstStyle>
            <a:lvl1pPr>
              <a:defRPr sz="6614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9494" y="5059035"/>
            <a:ext cx="9221689" cy="1653678"/>
          </a:xfrm>
        </p:spPr>
        <p:txBody>
          <a:bodyPr/>
          <a:lstStyle>
            <a:lvl1pPr marL="0" indent="0">
              <a:buNone/>
              <a:defRPr sz="2646">
                <a:solidFill>
                  <a:schemeClr val="tx1"/>
                </a:solidFill>
              </a:defRPr>
            </a:lvl1pPr>
            <a:lvl2pPr marL="503972" indent="0">
              <a:buNone/>
              <a:defRPr sz="2205">
                <a:solidFill>
                  <a:schemeClr val="tx1">
                    <a:tint val="75000"/>
                  </a:schemeClr>
                </a:solidFill>
              </a:defRPr>
            </a:lvl2pPr>
            <a:lvl3pPr marL="1007943" indent="0">
              <a:buNone/>
              <a:defRPr sz="1984">
                <a:solidFill>
                  <a:schemeClr val="tx1">
                    <a:tint val="75000"/>
                  </a:schemeClr>
                </a:solidFill>
              </a:defRPr>
            </a:lvl3pPr>
            <a:lvl4pPr marL="1511915" indent="0">
              <a:buNone/>
              <a:defRPr sz="1764">
                <a:solidFill>
                  <a:schemeClr val="tx1">
                    <a:tint val="75000"/>
                  </a:schemeClr>
                </a:solidFill>
              </a:defRPr>
            </a:lvl4pPr>
            <a:lvl5pPr marL="2015886" indent="0">
              <a:buNone/>
              <a:defRPr sz="1764">
                <a:solidFill>
                  <a:schemeClr val="tx1">
                    <a:tint val="75000"/>
                  </a:schemeClr>
                </a:solidFill>
              </a:defRPr>
            </a:lvl5pPr>
            <a:lvl6pPr marL="2519858" indent="0">
              <a:buNone/>
              <a:defRPr sz="1764">
                <a:solidFill>
                  <a:schemeClr val="tx1">
                    <a:tint val="75000"/>
                  </a:schemeClr>
                </a:solidFill>
              </a:defRPr>
            </a:lvl6pPr>
            <a:lvl7pPr marL="3023829" indent="0">
              <a:buNone/>
              <a:defRPr sz="1764">
                <a:solidFill>
                  <a:schemeClr val="tx1">
                    <a:tint val="75000"/>
                  </a:schemeClr>
                </a:solidFill>
              </a:defRPr>
            </a:lvl7pPr>
            <a:lvl8pPr marL="3527801" indent="0">
              <a:buNone/>
              <a:defRPr sz="1764">
                <a:solidFill>
                  <a:schemeClr val="tx1">
                    <a:tint val="75000"/>
                  </a:schemeClr>
                </a:solidFill>
              </a:defRPr>
            </a:lvl8pPr>
            <a:lvl9pPr marL="4031772" indent="0">
              <a:buNone/>
              <a:defRPr sz="1764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B421B1-E4DB-4585-94DD-B4506F452AE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90433847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735062" y="2012414"/>
            <a:ext cx="4544021" cy="479654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412730" y="2012414"/>
            <a:ext cx="4544021" cy="479654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B421B1-E4DB-4585-94DD-B4506F452AE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84784914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36455" y="402484"/>
            <a:ext cx="9221689" cy="1461188"/>
          </a:xfrm>
        </p:spPr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36456" y="1853171"/>
            <a:ext cx="4523137" cy="908210"/>
          </a:xfrm>
        </p:spPr>
        <p:txBody>
          <a:bodyPr anchor="b"/>
          <a:lstStyle>
            <a:lvl1pPr marL="0" indent="0">
              <a:buNone/>
              <a:defRPr sz="2646" b="1"/>
            </a:lvl1pPr>
            <a:lvl2pPr marL="503972" indent="0">
              <a:buNone/>
              <a:defRPr sz="2205" b="1"/>
            </a:lvl2pPr>
            <a:lvl3pPr marL="1007943" indent="0">
              <a:buNone/>
              <a:defRPr sz="1984" b="1"/>
            </a:lvl3pPr>
            <a:lvl4pPr marL="1511915" indent="0">
              <a:buNone/>
              <a:defRPr sz="1764" b="1"/>
            </a:lvl4pPr>
            <a:lvl5pPr marL="2015886" indent="0">
              <a:buNone/>
              <a:defRPr sz="1764" b="1"/>
            </a:lvl5pPr>
            <a:lvl6pPr marL="2519858" indent="0">
              <a:buNone/>
              <a:defRPr sz="1764" b="1"/>
            </a:lvl6pPr>
            <a:lvl7pPr marL="3023829" indent="0">
              <a:buNone/>
              <a:defRPr sz="1764" b="1"/>
            </a:lvl7pPr>
            <a:lvl8pPr marL="3527801" indent="0">
              <a:buNone/>
              <a:defRPr sz="1764" b="1"/>
            </a:lvl8pPr>
            <a:lvl9pPr marL="4031772" indent="0">
              <a:buNone/>
              <a:defRPr sz="1764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736456" y="2761381"/>
            <a:ext cx="4523137" cy="4061576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412731" y="1853171"/>
            <a:ext cx="4545413" cy="908210"/>
          </a:xfrm>
        </p:spPr>
        <p:txBody>
          <a:bodyPr anchor="b"/>
          <a:lstStyle>
            <a:lvl1pPr marL="0" indent="0">
              <a:buNone/>
              <a:defRPr sz="2646" b="1"/>
            </a:lvl1pPr>
            <a:lvl2pPr marL="503972" indent="0">
              <a:buNone/>
              <a:defRPr sz="2205" b="1"/>
            </a:lvl2pPr>
            <a:lvl3pPr marL="1007943" indent="0">
              <a:buNone/>
              <a:defRPr sz="1984" b="1"/>
            </a:lvl3pPr>
            <a:lvl4pPr marL="1511915" indent="0">
              <a:buNone/>
              <a:defRPr sz="1764" b="1"/>
            </a:lvl4pPr>
            <a:lvl5pPr marL="2015886" indent="0">
              <a:buNone/>
              <a:defRPr sz="1764" b="1"/>
            </a:lvl5pPr>
            <a:lvl6pPr marL="2519858" indent="0">
              <a:buNone/>
              <a:defRPr sz="1764" b="1"/>
            </a:lvl6pPr>
            <a:lvl7pPr marL="3023829" indent="0">
              <a:buNone/>
              <a:defRPr sz="1764" b="1"/>
            </a:lvl7pPr>
            <a:lvl8pPr marL="3527801" indent="0">
              <a:buNone/>
              <a:defRPr sz="1764" b="1"/>
            </a:lvl8pPr>
            <a:lvl9pPr marL="4031772" indent="0">
              <a:buNone/>
              <a:defRPr sz="1764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412731" y="2761381"/>
            <a:ext cx="4545413" cy="4061576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B421B1-E4DB-4585-94DD-B4506F452AE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9933886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B421B1-E4DB-4585-94DD-B4506F452AE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20768525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B421B1-E4DB-4585-94DD-B4506F452AE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7732295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36455" y="503978"/>
            <a:ext cx="3448388" cy="1763924"/>
          </a:xfrm>
        </p:spPr>
        <p:txBody>
          <a:bodyPr anchor="b"/>
          <a:lstStyle>
            <a:lvl1pPr>
              <a:defRPr sz="3527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45413" y="1088455"/>
            <a:ext cx="5412730" cy="5372269"/>
          </a:xfrm>
        </p:spPr>
        <p:txBody>
          <a:bodyPr/>
          <a:lstStyle>
            <a:lvl1pPr>
              <a:defRPr sz="3527"/>
            </a:lvl1pPr>
            <a:lvl2pPr>
              <a:defRPr sz="3086"/>
            </a:lvl2pPr>
            <a:lvl3pPr>
              <a:defRPr sz="2646"/>
            </a:lvl3pPr>
            <a:lvl4pPr>
              <a:defRPr sz="2205"/>
            </a:lvl4pPr>
            <a:lvl5pPr>
              <a:defRPr sz="2205"/>
            </a:lvl5pPr>
            <a:lvl6pPr>
              <a:defRPr sz="2205"/>
            </a:lvl6pPr>
            <a:lvl7pPr>
              <a:defRPr sz="2205"/>
            </a:lvl7pPr>
            <a:lvl8pPr>
              <a:defRPr sz="2205"/>
            </a:lvl8pPr>
            <a:lvl9pPr>
              <a:defRPr sz="2205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736455" y="2267902"/>
            <a:ext cx="3448388" cy="4201570"/>
          </a:xfrm>
        </p:spPr>
        <p:txBody>
          <a:bodyPr/>
          <a:lstStyle>
            <a:lvl1pPr marL="0" indent="0">
              <a:buNone/>
              <a:defRPr sz="1764"/>
            </a:lvl1pPr>
            <a:lvl2pPr marL="503972" indent="0">
              <a:buNone/>
              <a:defRPr sz="1543"/>
            </a:lvl2pPr>
            <a:lvl3pPr marL="1007943" indent="0">
              <a:buNone/>
              <a:defRPr sz="1323"/>
            </a:lvl3pPr>
            <a:lvl4pPr marL="1511915" indent="0">
              <a:buNone/>
              <a:defRPr sz="1102"/>
            </a:lvl4pPr>
            <a:lvl5pPr marL="2015886" indent="0">
              <a:buNone/>
              <a:defRPr sz="1102"/>
            </a:lvl5pPr>
            <a:lvl6pPr marL="2519858" indent="0">
              <a:buNone/>
              <a:defRPr sz="1102"/>
            </a:lvl6pPr>
            <a:lvl7pPr marL="3023829" indent="0">
              <a:buNone/>
              <a:defRPr sz="1102"/>
            </a:lvl7pPr>
            <a:lvl8pPr marL="3527801" indent="0">
              <a:buNone/>
              <a:defRPr sz="1102"/>
            </a:lvl8pPr>
            <a:lvl9pPr marL="4031772" indent="0">
              <a:buNone/>
              <a:defRPr sz="1102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B421B1-E4DB-4585-94DD-B4506F452AE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64386312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36455" y="503978"/>
            <a:ext cx="3448388" cy="1763924"/>
          </a:xfrm>
        </p:spPr>
        <p:txBody>
          <a:bodyPr anchor="b"/>
          <a:lstStyle>
            <a:lvl1pPr>
              <a:defRPr sz="3527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4545413" y="1088455"/>
            <a:ext cx="5412730" cy="5372269"/>
          </a:xfrm>
        </p:spPr>
        <p:txBody>
          <a:bodyPr anchor="t"/>
          <a:lstStyle>
            <a:lvl1pPr marL="0" indent="0">
              <a:buNone/>
              <a:defRPr sz="3527"/>
            </a:lvl1pPr>
            <a:lvl2pPr marL="503972" indent="0">
              <a:buNone/>
              <a:defRPr sz="3086"/>
            </a:lvl2pPr>
            <a:lvl3pPr marL="1007943" indent="0">
              <a:buNone/>
              <a:defRPr sz="2646"/>
            </a:lvl3pPr>
            <a:lvl4pPr marL="1511915" indent="0">
              <a:buNone/>
              <a:defRPr sz="2205"/>
            </a:lvl4pPr>
            <a:lvl5pPr marL="2015886" indent="0">
              <a:buNone/>
              <a:defRPr sz="2205"/>
            </a:lvl5pPr>
            <a:lvl6pPr marL="2519858" indent="0">
              <a:buNone/>
              <a:defRPr sz="2205"/>
            </a:lvl6pPr>
            <a:lvl7pPr marL="3023829" indent="0">
              <a:buNone/>
              <a:defRPr sz="2205"/>
            </a:lvl7pPr>
            <a:lvl8pPr marL="3527801" indent="0">
              <a:buNone/>
              <a:defRPr sz="2205"/>
            </a:lvl8pPr>
            <a:lvl9pPr marL="4031772" indent="0">
              <a:buNone/>
              <a:defRPr sz="2205"/>
            </a:lvl9pPr>
          </a:lstStyle>
          <a:p>
            <a:r>
              <a:rPr lang="ru-RU"/>
              <a:t>Вставка рисунка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736455" y="2267902"/>
            <a:ext cx="3448388" cy="4201570"/>
          </a:xfrm>
        </p:spPr>
        <p:txBody>
          <a:bodyPr/>
          <a:lstStyle>
            <a:lvl1pPr marL="0" indent="0">
              <a:buNone/>
              <a:defRPr sz="1764"/>
            </a:lvl1pPr>
            <a:lvl2pPr marL="503972" indent="0">
              <a:buNone/>
              <a:defRPr sz="1543"/>
            </a:lvl2pPr>
            <a:lvl3pPr marL="1007943" indent="0">
              <a:buNone/>
              <a:defRPr sz="1323"/>
            </a:lvl3pPr>
            <a:lvl4pPr marL="1511915" indent="0">
              <a:buNone/>
              <a:defRPr sz="1102"/>
            </a:lvl4pPr>
            <a:lvl5pPr marL="2015886" indent="0">
              <a:buNone/>
              <a:defRPr sz="1102"/>
            </a:lvl5pPr>
            <a:lvl6pPr marL="2519858" indent="0">
              <a:buNone/>
              <a:defRPr sz="1102"/>
            </a:lvl6pPr>
            <a:lvl7pPr marL="3023829" indent="0">
              <a:buNone/>
              <a:defRPr sz="1102"/>
            </a:lvl7pPr>
            <a:lvl8pPr marL="3527801" indent="0">
              <a:buNone/>
              <a:defRPr sz="1102"/>
            </a:lvl8pPr>
            <a:lvl9pPr marL="4031772" indent="0">
              <a:buNone/>
              <a:defRPr sz="1102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B421B1-E4DB-4585-94DD-B4506F452AE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5742981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735062" y="402484"/>
            <a:ext cx="9221689" cy="146118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35062" y="2012414"/>
            <a:ext cx="9221689" cy="479654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735062" y="7006700"/>
            <a:ext cx="2405658" cy="4024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323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541663" y="7006700"/>
            <a:ext cx="3608487" cy="4024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323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551093" y="7006700"/>
            <a:ext cx="2405658" cy="4024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323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FB421B1-E4DB-4585-94DD-B4506F452AE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84748922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9" r:id="rId1"/>
    <p:sldLayoutId id="2147483690" r:id="rId2"/>
    <p:sldLayoutId id="2147483691" r:id="rId3"/>
    <p:sldLayoutId id="2147483692" r:id="rId4"/>
    <p:sldLayoutId id="2147483693" r:id="rId5"/>
    <p:sldLayoutId id="2147483694" r:id="rId6"/>
    <p:sldLayoutId id="2147483695" r:id="rId7"/>
    <p:sldLayoutId id="2147483696" r:id="rId8"/>
    <p:sldLayoutId id="2147483697" r:id="rId9"/>
    <p:sldLayoutId id="2147483698" r:id="rId10"/>
    <p:sldLayoutId id="2147483699" r:id="rId11"/>
    <p:sldLayoutId id="2147483700" r:id="rId12"/>
    <p:sldLayoutId id="2147483701" r:id="rId13"/>
    <p:sldLayoutId id="2147483702" r:id="rId14"/>
  </p:sldLayoutIdLst>
  <p:hf hdr="0" ftr="0" dt="0"/>
  <p:txStyles>
    <p:titleStyle>
      <a:lvl1pPr algn="l" defTabSz="1007943" rtl="0" eaLnBrk="1" latinLnBrk="0" hangingPunct="1">
        <a:lnSpc>
          <a:spcPct val="90000"/>
        </a:lnSpc>
        <a:spcBef>
          <a:spcPct val="0"/>
        </a:spcBef>
        <a:buNone/>
        <a:defRPr sz="485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51986" indent="-251986" algn="l" defTabSz="1007943" rtl="0" eaLnBrk="1" latinLnBrk="0" hangingPunct="1">
        <a:lnSpc>
          <a:spcPct val="90000"/>
        </a:lnSpc>
        <a:spcBef>
          <a:spcPts val="1102"/>
        </a:spcBef>
        <a:buFont typeface="Arial" panose="020B0604020202020204" pitchFamily="34" charset="0"/>
        <a:buChar char="•"/>
        <a:defRPr sz="3086" kern="1200">
          <a:solidFill>
            <a:schemeClr val="tx1"/>
          </a:solidFill>
          <a:latin typeface="+mn-lt"/>
          <a:ea typeface="+mn-ea"/>
          <a:cs typeface="+mn-cs"/>
        </a:defRPr>
      </a:lvl1pPr>
      <a:lvl2pPr marL="755957" indent="-251986" algn="l" defTabSz="1007943" rtl="0" eaLnBrk="1" latinLnBrk="0" hangingPunct="1">
        <a:lnSpc>
          <a:spcPct val="90000"/>
        </a:lnSpc>
        <a:spcBef>
          <a:spcPts val="551"/>
        </a:spcBef>
        <a:buFont typeface="Arial" panose="020B0604020202020204" pitchFamily="34" charset="0"/>
        <a:buChar char="•"/>
        <a:defRPr sz="2646" kern="1200">
          <a:solidFill>
            <a:schemeClr val="tx1"/>
          </a:solidFill>
          <a:latin typeface="+mn-lt"/>
          <a:ea typeface="+mn-ea"/>
          <a:cs typeface="+mn-cs"/>
        </a:defRPr>
      </a:lvl2pPr>
      <a:lvl3pPr marL="1259929" indent="-251986" algn="l" defTabSz="1007943" rtl="0" eaLnBrk="1" latinLnBrk="0" hangingPunct="1">
        <a:lnSpc>
          <a:spcPct val="90000"/>
        </a:lnSpc>
        <a:spcBef>
          <a:spcPts val="551"/>
        </a:spcBef>
        <a:buFont typeface="Arial" panose="020B0604020202020204" pitchFamily="34" charset="0"/>
        <a:buChar char="•"/>
        <a:defRPr sz="2205" kern="1200">
          <a:solidFill>
            <a:schemeClr val="tx1"/>
          </a:solidFill>
          <a:latin typeface="+mn-lt"/>
          <a:ea typeface="+mn-ea"/>
          <a:cs typeface="+mn-cs"/>
        </a:defRPr>
      </a:lvl3pPr>
      <a:lvl4pPr marL="1763900" indent="-251986" algn="l" defTabSz="1007943" rtl="0" eaLnBrk="1" latinLnBrk="0" hangingPunct="1">
        <a:lnSpc>
          <a:spcPct val="90000"/>
        </a:lnSpc>
        <a:spcBef>
          <a:spcPts val="551"/>
        </a:spcBef>
        <a:buFont typeface="Arial" panose="020B0604020202020204" pitchFamily="34" charset="0"/>
        <a:buChar char="•"/>
        <a:defRPr sz="1984" kern="1200">
          <a:solidFill>
            <a:schemeClr val="tx1"/>
          </a:solidFill>
          <a:latin typeface="+mn-lt"/>
          <a:ea typeface="+mn-ea"/>
          <a:cs typeface="+mn-cs"/>
        </a:defRPr>
      </a:lvl4pPr>
      <a:lvl5pPr marL="2267872" indent="-251986" algn="l" defTabSz="1007943" rtl="0" eaLnBrk="1" latinLnBrk="0" hangingPunct="1">
        <a:lnSpc>
          <a:spcPct val="90000"/>
        </a:lnSpc>
        <a:spcBef>
          <a:spcPts val="551"/>
        </a:spcBef>
        <a:buFont typeface="Arial" panose="020B0604020202020204" pitchFamily="34" charset="0"/>
        <a:buChar char="•"/>
        <a:defRPr sz="1984" kern="1200">
          <a:solidFill>
            <a:schemeClr val="tx1"/>
          </a:solidFill>
          <a:latin typeface="+mn-lt"/>
          <a:ea typeface="+mn-ea"/>
          <a:cs typeface="+mn-cs"/>
        </a:defRPr>
      </a:lvl5pPr>
      <a:lvl6pPr marL="2771844" indent="-251986" algn="l" defTabSz="1007943" rtl="0" eaLnBrk="1" latinLnBrk="0" hangingPunct="1">
        <a:lnSpc>
          <a:spcPct val="90000"/>
        </a:lnSpc>
        <a:spcBef>
          <a:spcPts val="551"/>
        </a:spcBef>
        <a:buFont typeface="Arial" panose="020B0604020202020204" pitchFamily="34" charset="0"/>
        <a:buChar char="•"/>
        <a:defRPr sz="1984" kern="1200">
          <a:solidFill>
            <a:schemeClr val="tx1"/>
          </a:solidFill>
          <a:latin typeface="+mn-lt"/>
          <a:ea typeface="+mn-ea"/>
          <a:cs typeface="+mn-cs"/>
        </a:defRPr>
      </a:lvl6pPr>
      <a:lvl7pPr marL="3275815" indent="-251986" algn="l" defTabSz="1007943" rtl="0" eaLnBrk="1" latinLnBrk="0" hangingPunct="1">
        <a:lnSpc>
          <a:spcPct val="90000"/>
        </a:lnSpc>
        <a:spcBef>
          <a:spcPts val="551"/>
        </a:spcBef>
        <a:buFont typeface="Arial" panose="020B0604020202020204" pitchFamily="34" charset="0"/>
        <a:buChar char="•"/>
        <a:defRPr sz="1984" kern="1200">
          <a:solidFill>
            <a:schemeClr val="tx1"/>
          </a:solidFill>
          <a:latin typeface="+mn-lt"/>
          <a:ea typeface="+mn-ea"/>
          <a:cs typeface="+mn-cs"/>
        </a:defRPr>
      </a:lvl7pPr>
      <a:lvl8pPr marL="3779787" indent="-251986" algn="l" defTabSz="1007943" rtl="0" eaLnBrk="1" latinLnBrk="0" hangingPunct="1">
        <a:lnSpc>
          <a:spcPct val="90000"/>
        </a:lnSpc>
        <a:spcBef>
          <a:spcPts val="551"/>
        </a:spcBef>
        <a:buFont typeface="Arial" panose="020B0604020202020204" pitchFamily="34" charset="0"/>
        <a:buChar char="•"/>
        <a:defRPr sz="1984" kern="1200">
          <a:solidFill>
            <a:schemeClr val="tx1"/>
          </a:solidFill>
          <a:latin typeface="+mn-lt"/>
          <a:ea typeface="+mn-ea"/>
          <a:cs typeface="+mn-cs"/>
        </a:defRPr>
      </a:lvl8pPr>
      <a:lvl9pPr marL="4283758" indent="-251986" algn="l" defTabSz="1007943" rtl="0" eaLnBrk="1" latinLnBrk="0" hangingPunct="1">
        <a:lnSpc>
          <a:spcPct val="90000"/>
        </a:lnSpc>
        <a:spcBef>
          <a:spcPts val="551"/>
        </a:spcBef>
        <a:buFont typeface="Arial" panose="020B0604020202020204" pitchFamily="34" charset="0"/>
        <a:buChar char="•"/>
        <a:defRPr sz="1984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007943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1pPr>
      <a:lvl2pPr marL="503972" algn="l" defTabSz="1007943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2pPr>
      <a:lvl3pPr marL="1007943" algn="l" defTabSz="1007943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3pPr>
      <a:lvl4pPr marL="1511915" algn="l" defTabSz="1007943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4pPr>
      <a:lvl5pPr marL="2015886" algn="l" defTabSz="1007943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5pPr>
      <a:lvl6pPr marL="2519858" algn="l" defTabSz="1007943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6pPr>
      <a:lvl7pPr marL="3023829" algn="l" defTabSz="1007943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7pPr>
      <a:lvl8pPr marL="3527801" algn="l" defTabSz="1007943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8pPr>
      <a:lvl9pPr marL="4031772" algn="l" defTabSz="1007943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image" Target="../media/image4.png"/><Relationship Id="rId7" Type="http://schemas.openxmlformats.org/officeDocument/2006/relationships/image" Target="../media/image8.jpeg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7.png"/><Relationship Id="rId11" Type="http://schemas.openxmlformats.org/officeDocument/2006/relationships/image" Target="../media/image11.png"/><Relationship Id="rId5" Type="http://schemas.openxmlformats.org/officeDocument/2006/relationships/image" Target="../media/image6.jpeg"/><Relationship Id="rId10" Type="http://schemas.microsoft.com/office/2007/relationships/hdphoto" Target="../media/hdphoto1.wdp"/><Relationship Id="rId4" Type="http://schemas.openxmlformats.org/officeDocument/2006/relationships/image" Target="../media/image5.jpeg"/><Relationship Id="rId9" Type="http://schemas.openxmlformats.org/officeDocument/2006/relationships/image" Target="../media/image10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1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3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emf"/><Relationship Id="rId3" Type="http://schemas.openxmlformats.org/officeDocument/2006/relationships/image" Target="../media/image13.emf"/><Relationship Id="rId7" Type="http://schemas.openxmlformats.org/officeDocument/2006/relationships/image" Target="../media/image17.sv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16.png"/><Relationship Id="rId5" Type="http://schemas.openxmlformats.org/officeDocument/2006/relationships/image" Target="../media/image15.svg"/><Relationship Id="rId10" Type="http://schemas.openxmlformats.org/officeDocument/2006/relationships/image" Target="../media/image20.emf"/><Relationship Id="rId4" Type="http://schemas.openxmlformats.org/officeDocument/2006/relationships/image" Target="../media/image14.png"/><Relationship Id="rId9" Type="http://schemas.openxmlformats.org/officeDocument/2006/relationships/image" Target="../media/image19.emf"/></Relationships>
</file>

<file path=ppt/slides/_rels/slide5.xml.rels><?xml version="1.0" encoding="UTF-8" standalone="yes"?>
<Relationships xmlns="http://schemas.openxmlformats.org/package/2006/relationships"><Relationship Id="rId8" Type="http://schemas.microsoft.com/office/2007/relationships/hdphoto" Target="../media/hdphoto2.wdp"/><Relationship Id="rId3" Type="http://schemas.openxmlformats.org/officeDocument/2006/relationships/slideLayout" Target="../slideLayouts/slideLayout14.xml"/><Relationship Id="rId7" Type="http://schemas.openxmlformats.org/officeDocument/2006/relationships/image" Target="../media/image21.png"/><Relationship Id="rId12" Type="http://schemas.openxmlformats.org/officeDocument/2006/relationships/image" Target="../media/image25.png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image" Target="../media/image2.emf"/><Relationship Id="rId11" Type="http://schemas.openxmlformats.org/officeDocument/2006/relationships/image" Target="../media/image24.png"/><Relationship Id="rId5" Type="http://schemas.openxmlformats.org/officeDocument/2006/relationships/oleObject" Target="../embeddings/oleObject2.bin"/><Relationship Id="rId10" Type="http://schemas.openxmlformats.org/officeDocument/2006/relationships/image" Target="../media/image23.png"/><Relationship Id="rId4" Type="http://schemas.openxmlformats.org/officeDocument/2006/relationships/notesSlide" Target="../notesSlides/notesSlide3.xml"/><Relationship Id="rId9" Type="http://schemas.openxmlformats.org/officeDocument/2006/relationships/image" Target="../media/image22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Прямая соединительная линия 7"/>
          <p:cNvCxnSpPr/>
          <p:nvPr/>
        </p:nvCxnSpPr>
        <p:spPr>
          <a:xfrm>
            <a:off x="540327" y="5661602"/>
            <a:ext cx="9490364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Прямоугольник 3"/>
          <p:cNvSpPr/>
          <p:nvPr/>
        </p:nvSpPr>
        <p:spPr>
          <a:xfrm>
            <a:off x="540327" y="6010474"/>
            <a:ext cx="9984798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32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азвитие сети</a:t>
            </a:r>
            <a:br>
              <a:rPr lang="ru-RU" sz="32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32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коростных платных автодорог</a:t>
            </a:r>
          </a:p>
        </p:txBody>
      </p:sp>
      <p:grpSp>
        <p:nvGrpSpPr>
          <p:cNvPr id="7" name="Group 1">
            <a:extLst>
              <a:ext uri="{FF2B5EF4-FFF2-40B4-BE49-F238E27FC236}">
                <a16:creationId xmlns:a16="http://schemas.microsoft.com/office/drawing/2014/main" id="{02C6E19B-8D1B-447C-8E7C-57AC398D2A39}"/>
              </a:ext>
            </a:extLst>
          </p:cNvPr>
          <p:cNvGrpSpPr/>
          <p:nvPr/>
        </p:nvGrpSpPr>
        <p:grpSpPr>
          <a:xfrm>
            <a:off x="533348" y="-6979"/>
            <a:ext cx="9497344" cy="3967855"/>
            <a:chOff x="1363417" y="624662"/>
            <a:chExt cx="10700984" cy="4470719"/>
          </a:xfrm>
        </p:grpSpPr>
        <p:pic>
          <p:nvPicPr>
            <p:cNvPr id="11" name="Рисунок 10">
              <a:extLst>
                <a:ext uri="{FF2B5EF4-FFF2-40B4-BE49-F238E27FC236}">
                  <a16:creationId xmlns:a16="http://schemas.microsoft.com/office/drawing/2014/main" id="{4E898E0C-8803-47CE-ABB2-DB40F233027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 cstate="screen">
              <a:grayscl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19329"/>
            <a:stretch/>
          </p:blipFill>
          <p:spPr>
            <a:xfrm>
              <a:off x="6760611" y="632527"/>
              <a:ext cx="1961352" cy="2572630"/>
            </a:xfrm>
            <a:prstGeom prst="rect">
              <a:avLst/>
            </a:prstGeom>
          </p:spPr>
        </p:pic>
        <p:pic>
          <p:nvPicPr>
            <p:cNvPr id="12" name="Рисунок 11">
              <a:extLst>
                <a:ext uri="{FF2B5EF4-FFF2-40B4-BE49-F238E27FC236}">
                  <a16:creationId xmlns:a16="http://schemas.microsoft.com/office/drawing/2014/main" id="{C8C11AFB-0B1E-45AB-808E-94468094FC1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 cstate="screen">
              <a:grayscl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11463" b="16065"/>
            <a:stretch/>
          </p:blipFill>
          <p:spPr>
            <a:xfrm>
              <a:off x="1371282" y="624662"/>
              <a:ext cx="3125061" cy="1651603"/>
            </a:xfrm>
            <a:prstGeom prst="rect">
              <a:avLst/>
            </a:prstGeom>
          </p:spPr>
        </p:pic>
        <p:pic>
          <p:nvPicPr>
            <p:cNvPr id="13" name="Рисунок 12">
              <a:extLst>
                <a:ext uri="{FF2B5EF4-FFF2-40B4-BE49-F238E27FC236}">
                  <a16:creationId xmlns:a16="http://schemas.microsoft.com/office/drawing/2014/main" id="{FCF5E465-66E4-40C2-848B-FFC579F887BF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 cstate="screen">
              <a:grayscl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2227" r="4409" b="2181"/>
            <a:stretch/>
          </p:blipFill>
          <p:spPr>
            <a:xfrm>
              <a:off x="1363417" y="2395230"/>
              <a:ext cx="5289591" cy="2700151"/>
            </a:xfrm>
            <a:prstGeom prst="rect">
              <a:avLst/>
            </a:prstGeom>
          </p:spPr>
        </p:pic>
        <p:pic>
          <p:nvPicPr>
            <p:cNvPr id="14" name="Рисунок 13">
              <a:extLst>
                <a:ext uri="{FF2B5EF4-FFF2-40B4-BE49-F238E27FC236}">
                  <a16:creationId xmlns:a16="http://schemas.microsoft.com/office/drawing/2014/main" id="{E172C7B3-871C-4816-BE8C-E3395FE9448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 cstate="screen">
              <a:grayscl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-986"/>
            <a:stretch/>
          </p:blipFill>
          <p:spPr>
            <a:xfrm>
              <a:off x="8829566" y="1260039"/>
              <a:ext cx="3234835" cy="3819289"/>
            </a:xfrm>
            <a:prstGeom prst="rect">
              <a:avLst/>
            </a:prstGeom>
          </p:spPr>
        </p:pic>
        <p:sp>
          <p:nvSpPr>
            <p:cNvPr id="15" name="Прямоугольник 14">
              <a:extLst>
                <a:ext uri="{FF2B5EF4-FFF2-40B4-BE49-F238E27FC236}">
                  <a16:creationId xmlns:a16="http://schemas.microsoft.com/office/drawing/2014/main" id="{EE86FE6C-9279-4C0C-AD3E-57CB253A1ACA}"/>
                </a:ext>
              </a:extLst>
            </p:cNvPr>
            <p:cNvSpPr/>
            <p:nvPr/>
          </p:nvSpPr>
          <p:spPr>
            <a:xfrm>
              <a:off x="4603946" y="632527"/>
              <a:ext cx="2035352" cy="1655101"/>
            </a:xfrm>
            <a:prstGeom prst="rect">
              <a:avLst/>
            </a:prstGeom>
            <a:solidFill>
              <a:srgbClr val="F3AE11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83068" tIns="41533" rIns="83068" bIns="41533" anchor="ctr"/>
            <a:lstStyle/>
            <a:p>
              <a:pPr algn="ctr" defTabSz="830892"/>
              <a:r>
                <a:rPr lang="ru-RU" sz="1400" b="1" dirty="0">
                  <a:solidFill>
                    <a:schemeClr val="bg1"/>
                  </a:solidFill>
                  <a:latin typeface="Arial" panose="020B0604020202020204" pitchFamily="34" charset="0"/>
                  <a:ea typeface="Tahoma" pitchFamily="34" charset="0"/>
                  <a:cs typeface="Arial" panose="020B0604020202020204" pitchFamily="34" charset="0"/>
                </a:rPr>
                <a:t>СКОРОСТЬ</a:t>
              </a:r>
            </a:p>
          </p:txBody>
        </p:sp>
        <p:sp>
          <p:nvSpPr>
            <p:cNvPr id="16" name="Прямоугольник 15">
              <a:extLst>
                <a:ext uri="{FF2B5EF4-FFF2-40B4-BE49-F238E27FC236}">
                  <a16:creationId xmlns:a16="http://schemas.microsoft.com/office/drawing/2014/main" id="{CCE7EE48-2750-4E4D-8836-5F65139ED211}"/>
                </a:ext>
              </a:extLst>
            </p:cNvPr>
            <p:cNvSpPr/>
            <p:nvPr/>
          </p:nvSpPr>
          <p:spPr>
            <a:xfrm>
              <a:off x="8829566" y="632526"/>
              <a:ext cx="3234835" cy="727161"/>
            </a:xfrm>
            <a:prstGeom prst="rect">
              <a:avLst/>
            </a:prstGeom>
            <a:solidFill>
              <a:srgbClr val="DB4713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83068" tIns="41533" rIns="83068" bIns="41533" anchor="b"/>
            <a:lstStyle/>
            <a:p>
              <a:pPr defTabSz="830892"/>
              <a:r>
                <a:rPr lang="ru-RU" sz="1400" b="1" dirty="0">
                  <a:solidFill>
                    <a:schemeClr val="bg1"/>
                  </a:solidFill>
                  <a:latin typeface="Arial" panose="020B0604020202020204" pitchFamily="34" charset="0"/>
                  <a:ea typeface="Tahoma" pitchFamily="34" charset="0"/>
                  <a:cs typeface="Arial" panose="020B0604020202020204" pitchFamily="34" charset="0"/>
                </a:rPr>
                <a:t>БЕЗОПАСНОСТЬ</a:t>
              </a:r>
            </a:p>
          </p:txBody>
        </p:sp>
        <p:sp>
          <p:nvSpPr>
            <p:cNvPr id="17" name="Прямоугольник 16">
              <a:extLst>
                <a:ext uri="{FF2B5EF4-FFF2-40B4-BE49-F238E27FC236}">
                  <a16:creationId xmlns:a16="http://schemas.microsoft.com/office/drawing/2014/main" id="{A673349C-FB2E-4388-A570-C70661D24745}"/>
                </a:ext>
              </a:extLst>
            </p:cNvPr>
            <p:cNvSpPr/>
            <p:nvPr/>
          </p:nvSpPr>
          <p:spPr>
            <a:xfrm>
              <a:off x="6760611" y="3337989"/>
              <a:ext cx="1961350" cy="1741340"/>
            </a:xfrm>
            <a:prstGeom prst="rect">
              <a:avLst/>
            </a:prstGeom>
            <a:solidFill>
              <a:srgbClr val="EB8921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83068" tIns="41533" rIns="83068" bIns="41533" anchor="ctr"/>
            <a:lstStyle/>
            <a:p>
              <a:pPr algn="ctr" defTabSz="830892"/>
              <a:r>
                <a:rPr lang="ru-RU" sz="1400" b="1" dirty="0">
                  <a:solidFill>
                    <a:schemeClr val="bg1"/>
                  </a:solidFill>
                  <a:latin typeface="Arial" panose="020B0604020202020204" pitchFamily="34" charset="0"/>
                  <a:ea typeface="Tahoma" pitchFamily="34" charset="0"/>
                  <a:cs typeface="Arial" panose="020B0604020202020204" pitchFamily="34" charset="0"/>
                </a:rPr>
                <a:t>ЭФФЕКТИВНОСТЬ</a:t>
              </a:r>
            </a:p>
          </p:txBody>
        </p:sp>
        <p:pic>
          <p:nvPicPr>
            <p:cNvPr id="20" name="Рисунок 19">
              <a:extLst>
                <a:ext uri="{FF2B5EF4-FFF2-40B4-BE49-F238E27FC236}">
                  <a16:creationId xmlns:a16="http://schemas.microsoft.com/office/drawing/2014/main" id="{D2972A9F-B358-4234-BDFC-C1625B8AB622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screen">
              <a:grayscl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234414" y="2328293"/>
              <a:ext cx="366193" cy="419269"/>
            </a:xfrm>
            <a:prstGeom prst="roundRect">
              <a:avLst>
                <a:gd name="adj" fmla="val 27521"/>
              </a:avLst>
            </a:prstGeom>
          </p:spPr>
        </p:pic>
        <p:sp>
          <p:nvSpPr>
            <p:cNvPr id="21" name="Скругленный прямоугольник 15">
              <a:extLst>
                <a:ext uri="{FF2B5EF4-FFF2-40B4-BE49-F238E27FC236}">
                  <a16:creationId xmlns:a16="http://schemas.microsoft.com/office/drawing/2014/main" id="{F4985BFF-1377-4856-82B6-A0733E8A8DCF}"/>
                </a:ext>
              </a:extLst>
            </p:cNvPr>
            <p:cNvSpPr/>
            <p:nvPr/>
          </p:nvSpPr>
          <p:spPr>
            <a:xfrm>
              <a:off x="6972030" y="2067437"/>
              <a:ext cx="374486" cy="413496"/>
            </a:xfrm>
            <a:prstGeom prst="roundRect">
              <a:avLst>
                <a:gd name="adj" fmla="val 32280"/>
              </a:avLst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4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2" name="Скругленный прямоугольник 21">
              <a:extLst>
                <a:ext uri="{FF2B5EF4-FFF2-40B4-BE49-F238E27FC236}">
                  <a16:creationId xmlns:a16="http://schemas.microsoft.com/office/drawing/2014/main" id="{E0E35B64-705B-4BBB-931A-BA4D60096224}"/>
                </a:ext>
              </a:extLst>
            </p:cNvPr>
            <p:cNvSpPr/>
            <p:nvPr/>
          </p:nvSpPr>
          <p:spPr>
            <a:xfrm>
              <a:off x="7571966" y="2480934"/>
              <a:ext cx="374486" cy="413496"/>
            </a:xfrm>
            <a:prstGeom prst="roundRect">
              <a:avLst>
                <a:gd name="adj" fmla="val 32280"/>
              </a:avLst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4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23" name="Рисунок 22">
              <a:extLst>
                <a:ext uri="{FF2B5EF4-FFF2-40B4-BE49-F238E27FC236}">
                  <a16:creationId xmlns:a16="http://schemas.microsoft.com/office/drawing/2014/main" id="{CD7A8E74-AA3F-4C5B-B108-D7D5D599309F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909068" y="871441"/>
              <a:ext cx="450784" cy="400697"/>
            </a:xfrm>
            <a:prstGeom prst="roundRect">
              <a:avLst>
                <a:gd name="adj" fmla="val 28538"/>
              </a:avLst>
            </a:prstGeom>
          </p:spPr>
        </p:pic>
        <p:sp>
          <p:nvSpPr>
            <p:cNvPr id="24" name="Скругленный прямоугольник 23">
              <a:extLst>
                <a:ext uri="{FF2B5EF4-FFF2-40B4-BE49-F238E27FC236}">
                  <a16:creationId xmlns:a16="http://schemas.microsoft.com/office/drawing/2014/main" id="{99A48934-81D7-4126-BCDD-DC26A05E1A7E}"/>
                </a:ext>
              </a:extLst>
            </p:cNvPr>
            <p:cNvSpPr/>
            <p:nvPr/>
          </p:nvSpPr>
          <p:spPr>
            <a:xfrm>
              <a:off x="6746901" y="1412872"/>
              <a:ext cx="419284" cy="413496"/>
            </a:xfrm>
            <a:prstGeom prst="roundRect">
              <a:avLst>
                <a:gd name="adj" fmla="val 32280"/>
              </a:avLst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4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25" name="Рисунок 24">
              <a:extLst>
                <a:ext uri="{FF2B5EF4-FFF2-40B4-BE49-F238E27FC236}">
                  <a16:creationId xmlns:a16="http://schemas.microsoft.com/office/drawing/2014/main" id="{1B7452FC-FEE3-4696-A6C7-743190B31FF5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760611" y="1468864"/>
              <a:ext cx="396652" cy="305989"/>
            </a:xfrm>
            <a:prstGeom prst="rect">
              <a:avLst/>
            </a:prstGeom>
          </p:spPr>
        </p:pic>
        <p:pic>
          <p:nvPicPr>
            <p:cNvPr id="26" name="Рисунок 25">
              <a:extLst>
                <a:ext uri="{FF2B5EF4-FFF2-40B4-BE49-F238E27FC236}">
                  <a16:creationId xmlns:a16="http://schemas.microsoft.com/office/drawing/2014/main" id="{A36175EB-79E4-4AE9-935D-85630A2D987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9" cstate="screen">
              <a:grayscl/>
              <a:extLst>
                <a:ext uri="{BEBA8EAE-BF5A-486C-A8C5-ECC9F3942E4B}">
                  <a14:imgProps xmlns:a14="http://schemas.microsoft.com/office/drawing/2010/main">
                    <a14:imgLayer r:embed="rId10">
                      <a14:imgEffect>
                        <a14:backgroundRemoval t="0" b="96610" l="0" r="98276">
                          <a14:foregroundMark x1="34483" y1="62712" x2="36207" y2="69492"/>
                          <a14:foregroundMark x1="70690" y1="13559" x2="81034" y2="35593"/>
                          <a14:foregroundMark x1="36207" y1="74576" x2="46552" y2="64407"/>
                          <a14:foregroundMark x1="8621" y1="22034" x2="10345" y2="28814"/>
                        </a14:backgroundRemoval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7016961" y="2129938"/>
              <a:ext cx="286536" cy="292053"/>
            </a:xfrm>
            <a:prstGeom prst="rect">
              <a:avLst/>
            </a:prstGeom>
          </p:spPr>
        </p:pic>
        <p:pic>
          <p:nvPicPr>
            <p:cNvPr id="27" name="Рисунок 26">
              <a:extLst>
                <a:ext uri="{FF2B5EF4-FFF2-40B4-BE49-F238E27FC236}">
                  <a16:creationId xmlns:a16="http://schemas.microsoft.com/office/drawing/2014/main" id="{F62E96DE-7E9C-4415-B772-EC55992CE31A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583957" y="2601794"/>
              <a:ext cx="350506" cy="196064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84064975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2" name="Диаграмма 31"/>
          <p:cNvGraphicFramePr/>
          <p:nvPr/>
        </p:nvGraphicFramePr>
        <p:xfrm>
          <a:off x="4785486" y="2727839"/>
          <a:ext cx="3157508" cy="210500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36" name="Прямоугольник 35">
            <a:extLst>
              <a:ext uri="{FF2B5EF4-FFF2-40B4-BE49-F238E27FC236}">
                <a16:creationId xmlns:a16="http://schemas.microsoft.com/office/drawing/2014/main" id="{657E9BBC-618A-4A4C-8B21-508C11663095}"/>
              </a:ext>
            </a:extLst>
          </p:cNvPr>
          <p:cNvSpPr/>
          <p:nvPr/>
        </p:nvSpPr>
        <p:spPr>
          <a:xfrm>
            <a:off x="277209" y="907749"/>
            <a:ext cx="4433717" cy="6255051"/>
          </a:xfrm>
          <a:prstGeom prst="rect">
            <a:avLst/>
          </a:prstGeom>
          <a:solidFill>
            <a:srgbClr val="F5F5F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>
          <a:xfrm>
            <a:off x="8918980" y="7287622"/>
            <a:ext cx="1503437" cy="180001"/>
          </a:xfrm>
        </p:spPr>
        <p:txBody>
          <a:bodyPr/>
          <a:lstStyle/>
          <a:p>
            <a:fld id="{4D9AA05C-72EC-4F9A-8F8A-11CCF44C0B56}" type="slidenum">
              <a:rPr lang="ru-RU" smtClean="0"/>
              <a:pPr/>
              <a:t>2</a:t>
            </a:fld>
            <a:endParaRPr lang="ru-RU" dirty="0"/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ИТОГИ РАБОТЫ КОМПАНИИ 2010 – СЕНТЯБРЬ 2021</a:t>
            </a:r>
          </a:p>
        </p:txBody>
      </p:sp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id="{42733C55-9893-4CB8-89F0-BD92B4E8F5A5}"/>
              </a:ext>
            </a:extLst>
          </p:cNvPr>
          <p:cNvSpPr/>
          <p:nvPr/>
        </p:nvSpPr>
        <p:spPr>
          <a:xfrm>
            <a:off x="357280" y="938533"/>
            <a:ext cx="2018518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3200" b="1" dirty="0">
                <a:solidFill>
                  <a:srgbClr val="E95119"/>
                </a:solidFill>
              </a:rPr>
              <a:t>3 771 КМ</a:t>
            </a:r>
            <a:endParaRPr lang="ru-RU" sz="2400" dirty="0"/>
          </a:p>
        </p:txBody>
      </p:sp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419D60BA-82AC-4D41-B9CE-0AA97DB3436B}"/>
              </a:ext>
            </a:extLst>
          </p:cNvPr>
          <p:cNvSpPr/>
          <p:nvPr/>
        </p:nvSpPr>
        <p:spPr>
          <a:xfrm>
            <a:off x="373322" y="1374609"/>
            <a:ext cx="3041406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dirty="0"/>
              <a:t>автодорог в доверительном</a:t>
            </a:r>
          </a:p>
          <a:p>
            <a:r>
              <a:rPr lang="ru-RU" sz="1200" dirty="0"/>
              <a:t>управлении</a:t>
            </a:r>
          </a:p>
        </p:txBody>
      </p:sp>
      <p:grpSp>
        <p:nvGrpSpPr>
          <p:cNvPr id="6" name="Группа 5"/>
          <p:cNvGrpSpPr/>
          <p:nvPr/>
        </p:nvGrpSpPr>
        <p:grpSpPr>
          <a:xfrm>
            <a:off x="2729420" y="938260"/>
            <a:ext cx="2018518" cy="896948"/>
            <a:chOff x="5882816" y="1913990"/>
            <a:chExt cx="2018518" cy="896948"/>
          </a:xfrm>
        </p:grpSpPr>
        <p:sp>
          <p:nvSpPr>
            <p:cNvPr id="7" name="Прямоугольник 6">
              <a:extLst>
                <a:ext uri="{FF2B5EF4-FFF2-40B4-BE49-F238E27FC236}">
                  <a16:creationId xmlns:a16="http://schemas.microsoft.com/office/drawing/2014/main" id="{64D64B5B-5100-4867-B42A-3E4A9AFE1F42}"/>
                </a:ext>
              </a:extLst>
            </p:cNvPr>
            <p:cNvSpPr/>
            <p:nvPr/>
          </p:nvSpPr>
          <p:spPr>
            <a:xfrm>
              <a:off x="5882816" y="1913990"/>
              <a:ext cx="2018518" cy="58477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ru-RU" sz="3200" b="1" dirty="0">
                  <a:solidFill>
                    <a:srgbClr val="E95119"/>
                  </a:solidFill>
                </a:rPr>
                <a:t>1 818 КМ</a:t>
              </a:r>
              <a:endParaRPr lang="ru-RU" sz="2400" dirty="0"/>
            </a:p>
          </p:txBody>
        </p:sp>
        <p:sp>
          <p:nvSpPr>
            <p:cNvPr id="8" name="Прямоугольник 7">
              <a:extLst>
                <a:ext uri="{FF2B5EF4-FFF2-40B4-BE49-F238E27FC236}">
                  <a16:creationId xmlns:a16="http://schemas.microsoft.com/office/drawing/2014/main" id="{BCC2F62D-5018-498B-A4A9-7BF4BB17B00C}"/>
                </a:ext>
              </a:extLst>
            </p:cNvPr>
            <p:cNvSpPr/>
            <p:nvPr/>
          </p:nvSpPr>
          <p:spPr>
            <a:xfrm>
              <a:off x="5882817" y="2349273"/>
              <a:ext cx="1741540" cy="46166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ru-RU" sz="1200" dirty="0"/>
                <a:t>автодорог в платной</a:t>
              </a:r>
              <a:br>
                <a:rPr lang="ru-RU" sz="1200" dirty="0"/>
              </a:br>
              <a:r>
                <a:rPr lang="ru-RU" sz="1200" dirty="0"/>
                <a:t>эксплуатации</a:t>
              </a:r>
            </a:p>
          </p:txBody>
        </p:sp>
      </p:grpSp>
      <p:sp>
        <p:nvSpPr>
          <p:cNvPr id="9" name="Прямоугольник 8"/>
          <p:cNvSpPr/>
          <p:nvPr/>
        </p:nvSpPr>
        <p:spPr>
          <a:xfrm>
            <a:off x="373322" y="2207955"/>
            <a:ext cx="1640545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dirty="0">
                <a:ea typeface="Calibri" panose="020F0502020204030204" pitchFamily="34" charset="0"/>
              </a:rPr>
              <a:t>дорог 1 технической</a:t>
            </a:r>
            <a:br>
              <a:rPr lang="ru-RU" sz="1200" dirty="0">
                <a:ea typeface="Calibri" panose="020F0502020204030204" pitchFamily="34" charset="0"/>
              </a:rPr>
            </a:br>
            <a:r>
              <a:rPr lang="ru-RU" sz="1200" dirty="0">
                <a:ea typeface="Calibri" panose="020F0502020204030204" pitchFamily="34" charset="0"/>
              </a:rPr>
              <a:t>категории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366101" y="1774221"/>
            <a:ext cx="1215397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3200" b="1" dirty="0">
                <a:solidFill>
                  <a:srgbClr val="E94E14"/>
                </a:solidFill>
                <a:ea typeface="Calibri" panose="020F0502020204030204" pitchFamily="34" charset="0"/>
              </a:rPr>
              <a:t>74,8%</a:t>
            </a:r>
            <a:endParaRPr lang="ru-RU" sz="3200" dirty="0"/>
          </a:p>
        </p:txBody>
      </p:sp>
      <p:sp>
        <p:nvSpPr>
          <p:cNvPr id="11" name="Прямоугольник 10">
            <a:extLst>
              <a:ext uri="{FF2B5EF4-FFF2-40B4-BE49-F238E27FC236}">
                <a16:creationId xmlns:a16="http://schemas.microsoft.com/office/drawing/2014/main" id="{42733C55-9893-4CB8-89F0-BD92B4E8F5A5}"/>
              </a:ext>
            </a:extLst>
          </p:cNvPr>
          <p:cNvSpPr/>
          <p:nvPr/>
        </p:nvSpPr>
        <p:spPr>
          <a:xfrm>
            <a:off x="350930" y="3535988"/>
            <a:ext cx="2018518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800" b="1" dirty="0">
                <a:solidFill>
                  <a:srgbClr val="E95119"/>
                </a:solidFill>
              </a:rPr>
              <a:t>1 724 КМ</a:t>
            </a:r>
            <a:endParaRPr lang="ru-RU" sz="2000" dirty="0"/>
          </a:p>
        </p:txBody>
      </p:sp>
      <p:sp>
        <p:nvSpPr>
          <p:cNvPr id="12" name="Прямоугольник 11">
            <a:extLst>
              <a:ext uri="{FF2B5EF4-FFF2-40B4-BE49-F238E27FC236}">
                <a16:creationId xmlns:a16="http://schemas.microsoft.com/office/drawing/2014/main" id="{419D60BA-82AC-4D41-B9CE-0AA97DB3436B}"/>
              </a:ext>
            </a:extLst>
          </p:cNvPr>
          <p:cNvSpPr/>
          <p:nvPr/>
        </p:nvSpPr>
        <p:spPr>
          <a:xfrm>
            <a:off x="370147" y="3972064"/>
            <a:ext cx="1640545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dirty="0"/>
              <a:t>построено и реконструировано</a:t>
            </a:r>
          </a:p>
        </p:txBody>
      </p:sp>
      <p:sp>
        <p:nvSpPr>
          <p:cNvPr id="14" name="Прямоугольник 13">
            <a:extLst>
              <a:ext uri="{FF2B5EF4-FFF2-40B4-BE49-F238E27FC236}">
                <a16:creationId xmlns:a16="http://schemas.microsoft.com/office/drawing/2014/main" id="{42733C55-9893-4CB8-89F0-BD92B4E8F5A5}"/>
              </a:ext>
            </a:extLst>
          </p:cNvPr>
          <p:cNvSpPr/>
          <p:nvPr/>
        </p:nvSpPr>
        <p:spPr>
          <a:xfrm>
            <a:off x="2082383" y="3536576"/>
            <a:ext cx="301062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800" b="1" dirty="0">
                <a:solidFill>
                  <a:srgbClr val="969696"/>
                </a:solidFill>
              </a:rPr>
              <a:t>более 1 100 КМ</a:t>
            </a:r>
            <a:endParaRPr lang="ru-RU" sz="2000" dirty="0">
              <a:solidFill>
                <a:srgbClr val="969696"/>
              </a:solidFill>
            </a:endParaRPr>
          </a:p>
        </p:txBody>
      </p:sp>
      <p:sp>
        <p:nvSpPr>
          <p:cNvPr id="15" name="Прямоугольник 14">
            <a:extLst>
              <a:ext uri="{FF2B5EF4-FFF2-40B4-BE49-F238E27FC236}">
                <a16:creationId xmlns:a16="http://schemas.microsoft.com/office/drawing/2014/main" id="{419D60BA-82AC-4D41-B9CE-0AA97DB3436B}"/>
              </a:ext>
            </a:extLst>
          </p:cNvPr>
          <p:cNvSpPr/>
          <p:nvPr/>
        </p:nvSpPr>
        <p:spPr>
          <a:xfrm>
            <a:off x="2104182" y="3972738"/>
            <a:ext cx="1858952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dirty="0"/>
              <a:t>в стадии реализации</a:t>
            </a:r>
          </a:p>
        </p:txBody>
      </p:sp>
      <p:sp>
        <p:nvSpPr>
          <p:cNvPr id="16" name="Прямоугольник 15">
            <a:extLst>
              <a:ext uri="{FF2B5EF4-FFF2-40B4-BE49-F238E27FC236}">
                <a16:creationId xmlns:a16="http://schemas.microsoft.com/office/drawing/2014/main" id="{42733C55-9893-4CB8-89F0-BD92B4E8F5A5}"/>
              </a:ext>
            </a:extLst>
          </p:cNvPr>
          <p:cNvSpPr/>
          <p:nvPr/>
        </p:nvSpPr>
        <p:spPr>
          <a:xfrm>
            <a:off x="354650" y="5205269"/>
            <a:ext cx="2794828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3200" b="1" dirty="0">
                <a:solidFill>
                  <a:srgbClr val="969696"/>
                </a:solidFill>
              </a:rPr>
              <a:t>на 612 км</a:t>
            </a:r>
            <a:endParaRPr lang="ru-RU" sz="2400" dirty="0">
              <a:solidFill>
                <a:srgbClr val="969696"/>
              </a:solidFill>
            </a:endParaRPr>
          </a:p>
        </p:txBody>
      </p:sp>
      <p:sp>
        <p:nvSpPr>
          <p:cNvPr id="17" name="Прямоугольник 16">
            <a:extLst>
              <a:ext uri="{FF2B5EF4-FFF2-40B4-BE49-F238E27FC236}">
                <a16:creationId xmlns:a16="http://schemas.microsoft.com/office/drawing/2014/main" id="{419D60BA-82AC-4D41-B9CE-0AA97DB3436B}"/>
              </a:ext>
            </a:extLst>
          </p:cNvPr>
          <p:cNvSpPr/>
          <p:nvPr/>
        </p:nvSpPr>
        <p:spPr>
          <a:xfrm>
            <a:off x="371885" y="5623774"/>
            <a:ext cx="2443070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dirty="0">
                <a:ea typeface="Calibri" panose="020F0502020204030204" pitchFamily="34" charset="0"/>
              </a:rPr>
              <a:t>выполнены работы</a:t>
            </a:r>
            <a:br>
              <a:rPr lang="ru-RU" sz="1200" dirty="0">
                <a:ea typeface="Calibri" panose="020F0502020204030204" pitchFamily="34" charset="0"/>
              </a:rPr>
            </a:br>
            <a:r>
              <a:rPr lang="ru-RU" sz="1200" b="1" dirty="0">
                <a:ea typeface="Calibri" panose="020F0502020204030204" pitchFamily="34" charset="0"/>
              </a:rPr>
              <a:t>по капитальному ремонту</a:t>
            </a:r>
            <a:endParaRPr lang="ru-RU" sz="1200" dirty="0"/>
          </a:p>
        </p:txBody>
      </p:sp>
      <p:sp>
        <p:nvSpPr>
          <p:cNvPr id="18" name="Прямоугольник 17">
            <a:extLst>
              <a:ext uri="{FF2B5EF4-FFF2-40B4-BE49-F238E27FC236}">
                <a16:creationId xmlns:a16="http://schemas.microsoft.com/office/drawing/2014/main" id="{42733C55-9893-4CB8-89F0-BD92B4E8F5A5}"/>
              </a:ext>
            </a:extLst>
          </p:cNvPr>
          <p:cNvSpPr/>
          <p:nvPr/>
        </p:nvSpPr>
        <p:spPr>
          <a:xfrm>
            <a:off x="2388330" y="5204516"/>
            <a:ext cx="2794828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3200" b="1" dirty="0">
                <a:solidFill>
                  <a:srgbClr val="969696"/>
                </a:solidFill>
              </a:rPr>
              <a:t>на 3 3</a:t>
            </a:r>
            <a:r>
              <a:rPr lang="en-US" sz="3200" b="1" dirty="0">
                <a:solidFill>
                  <a:srgbClr val="969696"/>
                </a:solidFill>
              </a:rPr>
              <a:t>82</a:t>
            </a:r>
            <a:r>
              <a:rPr lang="ru-RU" sz="3200" b="1" dirty="0">
                <a:solidFill>
                  <a:srgbClr val="969696"/>
                </a:solidFill>
              </a:rPr>
              <a:t> км</a:t>
            </a:r>
            <a:endParaRPr lang="ru-RU" sz="2400" dirty="0">
              <a:solidFill>
                <a:srgbClr val="969696"/>
              </a:solidFill>
            </a:endParaRPr>
          </a:p>
        </p:txBody>
      </p:sp>
      <p:sp>
        <p:nvSpPr>
          <p:cNvPr id="19" name="Прямоугольник 18">
            <a:extLst>
              <a:ext uri="{FF2B5EF4-FFF2-40B4-BE49-F238E27FC236}">
                <a16:creationId xmlns:a16="http://schemas.microsoft.com/office/drawing/2014/main" id="{419D60BA-82AC-4D41-B9CE-0AA97DB3436B}"/>
              </a:ext>
            </a:extLst>
          </p:cNvPr>
          <p:cNvSpPr/>
          <p:nvPr/>
        </p:nvSpPr>
        <p:spPr>
          <a:xfrm>
            <a:off x="2396040" y="5623021"/>
            <a:ext cx="2443070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dirty="0">
                <a:ea typeface="Calibri" panose="020F0502020204030204" pitchFamily="34" charset="0"/>
              </a:rPr>
              <a:t>выполнены работы </a:t>
            </a:r>
            <a:r>
              <a:rPr lang="ru-RU" sz="1200" b="1" dirty="0">
                <a:ea typeface="Calibri" panose="020F0502020204030204" pitchFamily="34" charset="0"/>
              </a:rPr>
              <a:t>по ремонту </a:t>
            </a:r>
            <a:r>
              <a:rPr lang="ru-RU" sz="1200" dirty="0">
                <a:ea typeface="Calibri" panose="020F0502020204030204" pitchFamily="34" charset="0"/>
              </a:rPr>
              <a:t>(≈300 км ежегодно)</a:t>
            </a:r>
            <a:endParaRPr lang="ru-RU" sz="1200" dirty="0"/>
          </a:p>
        </p:txBody>
      </p:sp>
      <p:sp>
        <p:nvSpPr>
          <p:cNvPr id="21" name="TextBox 20"/>
          <p:cNvSpPr txBox="1"/>
          <p:nvPr/>
        </p:nvSpPr>
        <p:spPr>
          <a:xfrm>
            <a:off x="4880713" y="993655"/>
            <a:ext cx="5541704" cy="11387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b="1" dirty="0">
                <a:solidFill>
                  <a:srgbClr val="E95119"/>
                </a:solidFill>
              </a:rPr>
              <a:t>1 </a:t>
            </a:r>
            <a:r>
              <a:rPr lang="en-US" sz="2000" b="1" dirty="0">
                <a:solidFill>
                  <a:srgbClr val="E95119"/>
                </a:solidFill>
              </a:rPr>
              <a:t>2</a:t>
            </a:r>
            <a:r>
              <a:rPr lang="ru-RU" sz="2000" b="1" dirty="0">
                <a:solidFill>
                  <a:srgbClr val="E95119"/>
                </a:solidFill>
              </a:rPr>
              <a:t>60 млрд руб. </a:t>
            </a:r>
            <a:r>
              <a:rPr lang="ru-RU" sz="1200" dirty="0"/>
              <a:t>направлено на финансирование мероприятий строительства и реконструкции автомобильных дорог Государственной компании, из них </a:t>
            </a:r>
            <a:r>
              <a:rPr lang="ru-RU" sz="1200" b="1" dirty="0"/>
              <a:t>за счет внебюджетных источников</a:t>
            </a:r>
            <a:r>
              <a:rPr lang="ru-RU" sz="1200" dirty="0"/>
              <a:t>: </a:t>
            </a:r>
            <a:r>
              <a:rPr lang="ru-RU" sz="2000" b="1" dirty="0">
                <a:solidFill>
                  <a:srgbClr val="E95119"/>
                </a:solidFill>
              </a:rPr>
              <a:t>373 млрд руб. </a:t>
            </a:r>
            <a:br>
              <a:rPr lang="ru-RU" sz="2000" b="1" dirty="0"/>
            </a:br>
            <a:r>
              <a:rPr lang="en-US" sz="1400" dirty="0"/>
              <a:t>(</a:t>
            </a:r>
            <a:r>
              <a:rPr lang="en-US" sz="1600" b="1" dirty="0"/>
              <a:t>3</a:t>
            </a:r>
            <a:r>
              <a:rPr lang="ru-RU" sz="1600" b="1" dirty="0"/>
              <a:t>0</a:t>
            </a:r>
            <a:r>
              <a:rPr lang="en-US" sz="1600" b="1" dirty="0"/>
              <a:t>%</a:t>
            </a:r>
            <a:r>
              <a:rPr lang="en-US" sz="1400" b="1" dirty="0"/>
              <a:t> </a:t>
            </a:r>
            <a:r>
              <a:rPr lang="ru-RU" sz="1200" dirty="0"/>
              <a:t>от общего объема финансирования за период)</a:t>
            </a:r>
          </a:p>
        </p:txBody>
      </p:sp>
      <p:grpSp>
        <p:nvGrpSpPr>
          <p:cNvPr id="22" name="Группа 21"/>
          <p:cNvGrpSpPr/>
          <p:nvPr/>
        </p:nvGrpSpPr>
        <p:grpSpPr>
          <a:xfrm>
            <a:off x="7485732" y="2922155"/>
            <a:ext cx="3206081" cy="1689442"/>
            <a:chOff x="7769379" y="2943397"/>
            <a:chExt cx="3206081" cy="1689442"/>
          </a:xfrm>
        </p:grpSpPr>
        <p:sp>
          <p:nvSpPr>
            <p:cNvPr id="24" name="TextBox 23"/>
            <p:cNvSpPr txBox="1"/>
            <p:nvPr/>
          </p:nvSpPr>
          <p:spPr>
            <a:xfrm>
              <a:off x="8060810" y="3800087"/>
              <a:ext cx="1636454" cy="44627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200" b="1" dirty="0"/>
                <a:t>59 </a:t>
              </a:r>
              <a:r>
                <a:rPr lang="ru-RU" sz="1050" dirty="0"/>
                <a:t>млрд руб.</a:t>
              </a:r>
            </a:p>
            <a:p>
              <a:r>
                <a:rPr lang="ru-RU" sz="1050" dirty="0"/>
                <a:t>облигационные займы</a:t>
              </a:r>
            </a:p>
          </p:txBody>
        </p:sp>
        <p:sp>
          <p:nvSpPr>
            <p:cNvPr id="25" name="TextBox 24"/>
            <p:cNvSpPr txBox="1"/>
            <p:nvPr/>
          </p:nvSpPr>
          <p:spPr>
            <a:xfrm>
              <a:off x="8064311" y="3374515"/>
              <a:ext cx="1636454" cy="44627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200" b="1" dirty="0"/>
                <a:t>132 </a:t>
              </a:r>
              <a:r>
                <a:rPr lang="ru-RU" sz="1050" dirty="0"/>
                <a:t>млрд руб.</a:t>
              </a:r>
            </a:p>
            <a:p>
              <a:r>
                <a:rPr lang="ru-RU" sz="1050" dirty="0"/>
                <a:t>ФНБ</a:t>
              </a:r>
            </a:p>
          </p:txBody>
        </p:sp>
        <p:sp>
          <p:nvSpPr>
            <p:cNvPr id="26" name="TextBox 25"/>
            <p:cNvSpPr txBox="1"/>
            <p:nvPr/>
          </p:nvSpPr>
          <p:spPr>
            <a:xfrm>
              <a:off x="8051285" y="2943397"/>
              <a:ext cx="2761189" cy="43858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200" b="1" dirty="0"/>
                <a:t>180</a:t>
              </a:r>
              <a:r>
                <a:rPr lang="ru-RU" sz="1050" dirty="0"/>
                <a:t> млрд руб.</a:t>
              </a:r>
            </a:p>
            <a:p>
              <a:r>
                <a:rPr lang="ru-RU" sz="1050" dirty="0"/>
                <a:t>средства концессионеров и инвесторов</a:t>
              </a:r>
            </a:p>
          </p:txBody>
        </p:sp>
        <p:sp>
          <p:nvSpPr>
            <p:cNvPr id="27" name="TextBox 26"/>
            <p:cNvSpPr txBox="1"/>
            <p:nvPr/>
          </p:nvSpPr>
          <p:spPr>
            <a:xfrm>
              <a:off x="8051285" y="4194257"/>
              <a:ext cx="2924175" cy="43858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200" b="1" dirty="0"/>
                <a:t>1,8 </a:t>
              </a:r>
              <a:r>
                <a:rPr lang="ru-RU" sz="1050" dirty="0"/>
                <a:t>млрд руб.</a:t>
              </a:r>
            </a:p>
            <a:p>
              <a:r>
                <a:rPr lang="ru-RU" sz="1050" dirty="0"/>
                <a:t>доходы от собств. деятельности</a:t>
              </a:r>
            </a:p>
          </p:txBody>
        </p:sp>
        <p:sp>
          <p:nvSpPr>
            <p:cNvPr id="28" name="Овал 27"/>
            <p:cNvSpPr/>
            <p:nvPr/>
          </p:nvSpPr>
          <p:spPr>
            <a:xfrm>
              <a:off x="7769379" y="3033366"/>
              <a:ext cx="234281" cy="234281"/>
            </a:xfrm>
            <a:prstGeom prst="ellipse">
              <a:avLst/>
            </a:prstGeom>
            <a:solidFill>
              <a:srgbClr val="5B9BD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9" name="Овал 28"/>
            <p:cNvSpPr/>
            <p:nvPr/>
          </p:nvSpPr>
          <p:spPr>
            <a:xfrm>
              <a:off x="7769379" y="3461991"/>
              <a:ext cx="234281" cy="234281"/>
            </a:xfrm>
            <a:prstGeom prst="ellipse">
              <a:avLst/>
            </a:prstGeom>
            <a:solidFill>
              <a:srgbClr val="ED7D3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30" name="Овал 29"/>
            <p:cNvSpPr/>
            <p:nvPr/>
          </p:nvSpPr>
          <p:spPr>
            <a:xfrm>
              <a:off x="7769379" y="3905024"/>
              <a:ext cx="234281" cy="234281"/>
            </a:xfrm>
            <a:prstGeom prst="ellipse">
              <a:avLst/>
            </a:prstGeom>
            <a:solidFill>
              <a:srgbClr val="A5A5A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31" name="Овал 30"/>
            <p:cNvSpPr/>
            <p:nvPr/>
          </p:nvSpPr>
          <p:spPr>
            <a:xfrm>
              <a:off x="7769379" y="4301693"/>
              <a:ext cx="234281" cy="234281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sp>
        <p:nvSpPr>
          <p:cNvPr id="34" name="Прямоугольник 33"/>
          <p:cNvSpPr/>
          <p:nvPr/>
        </p:nvSpPr>
        <p:spPr>
          <a:xfrm>
            <a:off x="4964678" y="5023998"/>
            <a:ext cx="5624970" cy="684803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pPr>
              <a:spcAft>
                <a:spcPts val="300"/>
              </a:spcAft>
            </a:pPr>
            <a:r>
              <a:rPr lang="ru-RU" sz="1400" b="1" dirty="0">
                <a:solidFill>
                  <a:srgbClr val="000000"/>
                </a:solidFill>
              </a:rPr>
              <a:t>Кредитный рейтинг компании:</a:t>
            </a:r>
          </a:p>
          <a:p>
            <a:pPr>
              <a:spcAft>
                <a:spcPts val="441"/>
              </a:spcAft>
            </a:pPr>
            <a:r>
              <a:rPr lang="ru-RU" sz="1100" dirty="0">
                <a:solidFill>
                  <a:srgbClr val="000000"/>
                </a:solidFill>
              </a:rPr>
              <a:t>АКРА: «</a:t>
            </a:r>
            <a:r>
              <a:rPr lang="ru-RU" sz="1100" b="1" dirty="0">
                <a:solidFill>
                  <a:srgbClr val="000000"/>
                </a:solidFill>
              </a:rPr>
              <a:t>АА(</a:t>
            </a:r>
            <a:r>
              <a:rPr lang="en-US" sz="1100" b="1" dirty="0">
                <a:solidFill>
                  <a:srgbClr val="000000"/>
                </a:solidFill>
              </a:rPr>
              <a:t>RU)</a:t>
            </a:r>
            <a:r>
              <a:rPr lang="en-US" sz="1100" dirty="0">
                <a:solidFill>
                  <a:srgbClr val="000000"/>
                </a:solidFill>
              </a:rPr>
              <a:t>» </a:t>
            </a:r>
            <a:r>
              <a:rPr lang="ru-RU" sz="1100" dirty="0">
                <a:solidFill>
                  <a:srgbClr val="000000"/>
                </a:solidFill>
              </a:rPr>
              <a:t>(по РФ - ААА(</a:t>
            </a:r>
            <a:r>
              <a:rPr lang="en-US" sz="1100" dirty="0">
                <a:solidFill>
                  <a:srgbClr val="000000"/>
                </a:solidFill>
              </a:rPr>
              <a:t>RU)</a:t>
            </a:r>
            <a:r>
              <a:rPr lang="ru-RU" sz="1100" dirty="0">
                <a:solidFill>
                  <a:srgbClr val="000000"/>
                </a:solidFill>
              </a:rPr>
              <a:t>»); </a:t>
            </a:r>
            <a:r>
              <a:rPr lang="ru-RU" sz="1100" dirty="0" err="1">
                <a:solidFill>
                  <a:srgbClr val="000000"/>
                </a:solidFill>
              </a:rPr>
              <a:t>ЭкспертРа</a:t>
            </a:r>
            <a:r>
              <a:rPr lang="en-US" sz="1100" dirty="0">
                <a:solidFill>
                  <a:srgbClr val="000000"/>
                </a:solidFill>
              </a:rPr>
              <a:t>:</a:t>
            </a:r>
            <a:r>
              <a:rPr lang="ru-RU" sz="1100" dirty="0">
                <a:solidFill>
                  <a:srgbClr val="000000"/>
                </a:solidFill>
              </a:rPr>
              <a:t> </a:t>
            </a:r>
            <a:r>
              <a:rPr lang="ru-RU" sz="1100" b="1" dirty="0" err="1">
                <a:solidFill>
                  <a:srgbClr val="000000"/>
                </a:solidFill>
              </a:rPr>
              <a:t>ruAA</a:t>
            </a:r>
            <a:r>
              <a:rPr lang="ru-RU" sz="1100" b="1" dirty="0">
                <a:solidFill>
                  <a:srgbClr val="000000"/>
                </a:solidFill>
              </a:rPr>
              <a:t>+</a:t>
            </a:r>
            <a:r>
              <a:rPr lang="ru-RU" sz="1100" dirty="0">
                <a:solidFill>
                  <a:srgbClr val="000000"/>
                </a:solidFill>
              </a:rPr>
              <a:t>  (по РФ - </a:t>
            </a:r>
            <a:r>
              <a:rPr lang="en-US" sz="1100" dirty="0">
                <a:solidFill>
                  <a:srgbClr val="000000"/>
                </a:solidFill>
              </a:rPr>
              <a:t>«</a:t>
            </a:r>
            <a:r>
              <a:rPr lang="en-US" sz="1100" dirty="0" err="1">
                <a:solidFill>
                  <a:srgbClr val="000000"/>
                </a:solidFill>
              </a:rPr>
              <a:t>ru</a:t>
            </a:r>
            <a:r>
              <a:rPr lang="ru-RU" sz="1100" dirty="0">
                <a:solidFill>
                  <a:srgbClr val="000000"/>
                </a:solidFill>
              </a:rPr>
              <a:t>АА</a:t>
            </a:r>
            <a:r>
              <a:rPr lang="en-US" sz="1100" dirty="0">
                <a:solidFill>
                  <a:srgbClr val="000000"/>
                </a:solidFill>
              </a:rPr>
              <a:t>A»</a:t>
            </a:r>
            <a:r>
              <a:rPr lang="ru-RU" sz="1100" dirty="0">
                <a:solidFill>
                  <a:srgbClr val="000000"/>
                </a:solidFill>
              </a:rPr>
              <a:t>); </a:t>
            </a:r>
            <a:r>
              <a:rPr lang="en-US" sz="1100" dirty="0">
                <a:solidFill>
                  <a:srgbClr val="000000"/>
                </a:solidFill>
              </a:rPr>
              <a:t>Fitch Ratings: «BBB» (</a:t>
            </a:r>
            <a:r>
              <a:rPr lang="ru-RU" sz="1100" dirty="0">
                <a:solidFill>
                  <a:srgbClr val="000000"/>
                </a:solidFill>
              </a:rPr>
              <a:t>соответствует рейтингу РФ)</a:t>
            </a:r>
            <a:endParaRPr lang="en-US" sz="1100" dirty="0">
              <a:solidFill>
                <a:srgbClr val="000000"/>
              </a:solidFill>
            </a:endParaRPr>
          </a:p>
        </p:txBody>
      </p:sp>
      <p:sp>
        <p:nvSpPr>
          <p:cNvPr id="35" name="Прямоугольник 34">
            <a:extLst>
              <a:ext uri="{FF2B5EF4-FFF2-40B4-BE49-F238E27FC236}">
                <a16:creationId xmlns:a16="http://schemas.microsoft.com/office/drawing/2014/main" id="{DC01CEB3-34F1-4583-B37D-64C722F77BBA}"/>
              </a:ext>
            </a:extLst>
          </p:cNvPr>
          <p:cNvSpPr/>
          <p:nvPr/>
        </p:nvSpPr>
        <p:spPr>
          <a:xfrm>
            <a:off x="4964678" y="5854566"/>
            <a:ext cx="5526017" cy="89255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b="1" dirty="0"/>
              <a:t>Государственная компания привлекает инвестиции и опыт международных партнеров</a:t>
            </a:r>
            <a:r>
              <a:rPr lang="ru-RU" sz="1200" dirty="0"/>
              <a:t>, а также крупных финансовых институтов, при создании объектов транспортной инфраструктуры (</a:t>
            </a:r>
            <a:r>
              <a:rPr lang="en-US" sz="1200" b="1" dirty="0">
                <a:solidFill>
                  <a:srgbClr val="EF9715"/>
                </a:solidFill>
                <a:latin typeface="Calibri" panose="020F0502020204030204" pitchFamily="34" charset="0"/>
                <a:ea typeface="Calibri" panose="020F0502020204030204" pitchFamily="34" charset="0"/>
              </a:rPr>
              <a:t>VINCI, ASTALDI, ANAS, TECNOSITAF, KAPSCH, </a:t>
            </a:r>
            <a:r>
              <a:rPr lang="ru-RU" sz="1200" b="1" dirty="0">
                <a:solidFill>
                  <a:srgbClr val="EF9715"/>
                </a:solidFill>
                <a:latin typeface="Calibri" panose="020F0502020204030204" pitchFamily="34" charset="0"/>
                <a:ea typeface="Calibri" panose="020F0502020204030204" pitchFamily="34" charset="0"/>
              </a:rPr>
              <a:t>РФПИ, Евразийский банк развития</a:t>
            </a:r>
            <a:r>
              <a:rPr lang="ru-RU" sz="1200" dirty="0"/>
              <a:t>).</a:t>
            </a:r>
            <a:endParaRPr lang="ru-RU" sz="1200" b="1" dirty="0">
              <a:solidFill>
                <a:srgbClr val="EF9715"/>
              </a:solidFill>
              <a:latin typeface="Calibri" panose="020F0502020204030204" pitchFamily="34" charset="0"/>
              <a:ea typeface="Calibri" panose="020F0502020204030204" pitchFamily="34" charset="0"/>
            </a:endParaRPr>
          </a:p>
        </p:txBody>
      </p:sp>
      <p:sp>
        <p:nvSpPr>
          <p:cNvPr id="42" name="Пятиугольник 41"/>
          <p:cNvSpPr/>
          <p:nvPr/>
        </p:nvSpPr>
        <p:spPr>
          <a:xfrm>
            <a:off x="152426" y="2929674"/>
            <a:ext cx="4175090" cy="432000"/>
          </a:xfrm>
          <a:prstGeom prst="homePlate">
            <a:avLst/>
          </a:prstGeom>
          <a:solidFill>
            <a:srgbClr val="E94E14">
              <a:alpha val="26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3" name="TextBox 42"/>
          <p:cNvSpPr txBox="1"/>
          <p:nvPr/>
        </p:nvSpPr>
        <p:spPr>
          <a:xfrm>
            <a:off x="153816" y="2952038"/>
            <a:ext cx="395606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/>
              <a:t>Строительство и реконструкция</a:t>
            </a:r>
          </a:p>
        </p:txBody>
      </p:sp>
      <p:sp>
        <p:nvSpPr>
          <p:cNvPr id="44" name="Пятиугольник 43"/>
          <p:cNvSpPr/>
          <p:nvPr/>
        </p:nvSpPr>
        <p:spPr>
          <a:xfrm>
            <a:off x="151046" y="4593767"/>
            <a:ext cx="4175090" cy="432000"/>
          </a:xfrm>
          <a:prstGeom prst="homePlate">
            <a:avLst/>
          </a:prstGeom>
          <a:solidFill>
            <a:srgbClr val="E94E14">
              <a:alpha val="26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5" name="TextBox 44"/>
          <p:cNvSpPr txBox="1"/>
          <p:nvPr/>
        </p:nvSpPr>
        <p:spPr>
          <a:xfrm>
            <a:off x="152436" y="4616131"/>
            <a:ext cx="395606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/>
              <a:t>Доверительное управление</a:t>
            </a:r>
          </a:p>
        </p:txBody>
      </p:sp>
      <p:sp>
        <p:nvSpPr>
          <p:cNvPr id="37" name="Прямоугольник 36"/>
          <p:cNvSpPr/>
          <p:nvPr/>
        </p:nvSpPr>
        <p:spPr>
          <a:xfrm>
            <a:off x="369980" y="6192515"/>
            <a:ext cx="4208931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600"/>
              </a:spcAft>
            </a:pPr>
            <a:r>
              <a:rPr lang="ru-RU" sz="1200" dirty="0"/>
              <a:t>В полном объеме </a:t>
            </a:r>
            <a:r>
              <a:rPr lang="ru-RU" sz="1400" b="1" dirty="0">
                <a:solidFill>
                  <a:srgbClr val="FE8E03"/>
                </a:solidFill>
              </a:rPr>
              <a:t>обеспечивается</a:t>
            </a:r>
            <a:r>
              <a:rPr lang="ru-RU" sz="1400" dirty="0"/>
              <a:t> </a:t>
            </a:r>
            <a:r>
              <a:rPr lang="ru-RU" sz="1400" b="1" dirty="0">
                <a:solidFill>
                  <a:srgbClr val="FE8E03"/>
                </a:solidFill>
              </a:rPr>
              <a:t>нормативное содержание </a:t>
            </a:r>
            <a:r>
              <a:rPr lang="ru-RU" sz="1200" dirty="0"/>
              <a:t>автомобильных дорог Государственной компании.</a:t>
            </a:r>
          </a:p>
        </p:txBody>
      </p:sp>
      <p:sp>
        <p:nvSpPr>
          <p:cNvPr id="46" name="Прямоугольник 45"/>
          <p:cNvSpPr/>
          <p:nvPr/>
        </p:nvSpPr>
        <p:spPr>
          <a:xfrm>
            <a:off x="4903857" y="2090264"/>
            <a:ext cx="5146594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b="1" dirty="0">
                <a:solidFill>
                  <a:srgbClr val="E94E14"/>
                </a:solidFill>
                <a:ea typeface="Calibri" panose="020F0502020204030204" pitchFamily="34" charset="0"/>
              </a:rPr>
              <a:t>79 млрд руб.</a:t>
            </a:r>
          </a:p>
          <a:p>
            <a:r>
              <a:rPr lang="ru-RU" sz="1200" b="1" dirty="0">
                <a:ea typeface="Calibri" panose="020F0502020204030204" pitchFamily="34" charset="0"/>
              </a:rPr>
              <a:t>объем доходов </a:t>
            </a:r>
            <a:r>
              <a:rPr lang="ru-RU" sz="1200" dirty="0">
                <a:ea typeface="Calibri" panose="020F0502020204030204" pitchFamily="34" charset="0"/>
              </a:rPr>
              <a:t>от доверительного управления автомобильными дорогами; </a:t>
            </a:r>
            <a:endParaRPr lang="ru-RU" sz="2800" b="1" dirty="0">
              <a:solidFill>
                <a:srgbClr val="00B050"/>
              </a:solidFill>
              <a:ea typeface="Calibri" panose="020F0502020204030204" pitchFamily="34" charset="0"/>
            </a:endParaRPr>
          </a:p>
        </p:txBody>
      </p:sp>
      <p:sp>
        <p:nvSpPr>
          <p:cNvPr id="47" name="TextBox 1"/>
          <p:cNvSpPr txBox="1"/>
          <p:nvPr/>
        </p:nvSpPr>
        <p:spPr>
          <a:xfrm>
            <a:off x="5941385" y="3471388"/>
            <a:ext cx="845710" cy="699150"/>
          </a:xfrm>
          <a:prstGeom prst="rect">
            <a:avLst/>
          </a:prstGeom>
        </p:spPr>
        <p:txBody>
          <a:bodyPr wrap="non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1800" b="1" dirty="0">
                <a:cs typeface="Arial" panose="020B0604020202020204" pitchFamily="34" charset="0"/>
              </a:rPr>
              <a:t>373</a:t>
            </a:r>
            <a:endParaRPr lang="ru-RU" sz="1400" b="1" baseline="0" dirty="0">
              <a:cs typeface="Arial" panose="020B0604020202020204" pitchFamily="34" charset="0"/>
            </a:endParaRPr>
          </a:p>
          <a:p>
            <a:pPr algn="ctr"/>
            <a:r>
              <a:rPr lang="ru-RU" sz="1400" b="1" baseline="0" dirty="0">
                <a:cs typeface="Arial" panose="020B0604020202020204" pitchFamily="34" charset="0"/>
              </a:rPr>
              <a:t>млрд руб.</a:t>
            </a:r>
            <a:endParaRPr lang="ru-RU" sz="1400" b="1" dirty="0"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1239510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>
          <a:xfrm>
            <a:off x="8953080" y="7287622"/>
            <a:ext cx="1503437" cy="180001"/>
          </a:xfrm>
        </p:spPr>
        <p:txBody>
          <a:bodyPr/>
          <a:lstStyle/>
          <a:p>
            <a:fld id="{4D9AA05C-72EC-4F9A-8F8A-11CCF44C0B56}" type="slidenum">
              <a:rPr lang="ru-RU" smtClean="0"/>
              <a:pPr/>
              <a:t>3</a:t>
            </a:fld>
            <a:endParaRPr lang="ru-RU" dirty="0"/>
          </a:p>
        </p:txBody>
      </p:sp>
      <p:sp>
        <p:nvSpPr>
          <p:cNvPr id="4" name="Заголовок 3"/>
          <p:cNvSpPr>
            <a:spLocks noGrp="1"/>
          </p:cNvSpPr>
          <p:nvPr>
            <p:ph type="title"/>
          </p:nvPr>
        </p:nvSpPr>
        <p:spPr>
          <a:xfrm>
            <a:off x="262030" y="0"/>
            <a:ext cx="10069784" cy="900000"/>
          </a:xfrm>
        </p:spPr>
        <p:txBody>
          <a:bodyPr>
            <a:normAutofit/>
          </a:bodyPr>
          <a:lstStyle/>
          <a:p>
            <a:r>
              <a:rPr lang="ru-RU" dirty="0"/>
              <a:t>ПЕРСПЕКТИВНЫЕ ПРОЕКТЫ</a:t>
            </a:r>
            <a:br>
              <a:rPr lang="ru-RU" dirty="0"/>
            </a:br>
            <a:r>
              <a:rPr lang="ru-RU" dirty="0"/>
              <a:t>СЕТИ СКОРОСТНЫХ АВТОМОБИЛЬНЫХ ДОРОГ</a:t>
            </a:r>
          </a:p>
        </p:txBody>
      </p:sp>
      <p:sp>
        <p:nvSpPr>
          <p:cNvPr id="31" name="Прямоугольник 30"/>
          <p:cNvSpPr/>
          <p:nvPr/>
        </p:nvSpPr>
        <p:spPr>
          <a:xfrm>
            <a:off x="2458376" y="7209714"/>
            <a:ext cx="1643399" cy="36381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882" dirty="0">
                <a:solidFill>
                  <a:srgbClr val="000000"/>
                </a:solidFill>
                <a:latin typeface="Calibri" panose="020F0502020204030204" pitchFamily="34" charset="0"/>
              </a:rPr>
              <a:t>Новые скоростные дороги</a:t>
            </a:r>
          </a:p>
          <a:p>
            <a:r>
              <a:rPr lang="ru-RU" sz="882" dirty="0">
                <a:solidFill>
                  <a:srgbClr val="000000"/>
                </a:solidFill>
                <a:latin typeface="Calibri" panose="020F0502020204030204" pitchFamily="34" charset="0"/>
              </a:rPr>
              <a:t>Реконструкция до 1 категории</a:t>
            </a:r>
            <a:endParaRPr lang="ru-RU" sz="882" dirty="0"/>
          </a:p>
        </p:txBody>
      </p:sp>
      <p:sp>
        <p:nvSpPr>
          <p:cNvPr id="32" name="Прямоугольник 31"/>
          <p:cNvSpPr/>
          <p:nvPr/>
        </p:nvSpPr>
        <p:spPr>
          <a:xfrm>
            <a:off x="3943431" y="7156088"/>
            <a:ext cx="2424893" cy="22807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882" dirty="0">
                <a:solidFill>
                  <a:srgbClr val="000000"/>
                </a:solidFill>
                <a:latin typeface="Calibri" panose="020F0502020204030204" pitchFamily="34" charset="0"/>
              </a:rPr>
              <a:t>2020-</a:t>
            </a:r>
            <a:r>
              <a:rPr lang="ru-RU" sz="882" dirty="0">
                <a:solidFill>
                  <a:srgbClr val="000000"/>
                </a:solidFill>
                <a:latin typeface="Calibri" panose="020F0502020204030204" pitchFamily="34" charset="0"/>
              </a:rPr>
              <a:t>2024 г.</a:t>
            </a:r>
            <a:r>
              <a:rPr lang="en-US" sz="882" dirty="0">
                <a:solidFill>
                  <a:srgbClr val="000000"/>
                </a:solidFill>
                <a:latin typeface="Calibri" panose="020F0502020204030204" pitchFamily="34" charset="0"/>
              </a:rPr>
              <a:t>   </a:t>
            </a:r>
            <a:r>
              <a:rPr lang="ru-RU" sz="882" dirty="0">
                <a:solidFill>
                  <a:srgbClr val="000000"/>
                </a:solidFill>
                <a:latin typeface="Calibri" panose="020F0502020204030204" pitchFamily="34" charset="0"/>
              </a:rPr>
              <a:t> 2025-2030 гг.</a:t>
            </a:r>
            <a:r>
              <a:rPr lang="en-US" sz="882" dirty="0">
                <a:solidFill>
                  <a:srgbClr val="000000"/>
                </a:solidFill>
                <a:latin typeface="Calibri" panose="020F0502020204030204" pitchFamily="34" charset="0"/>
              </a:rPr>
              <a:t>    </a:t>
            </a:r>
            <a:r>
              <a:rPr lang="ru-RU" sz="882" dirty="0">
                <a:solidFill>
                  <a:srgbClr val="000000"/>
                </a:solidFill>
                <a:latin typeface="Calibri" panose="020F0502020204030204" pitchFamily="34" charset="0"/>
              </a:rPr>
              <a:t> </a:t>
            </a:r>
            <a:r>
              <a:rPr lang="en-US" sz="882" dirty="0">
                <a:solidFill>
                  <a:srgbClr val="000000"/>
                </a:solidFill>
                <a:latin typeface="Calibri" panose="020F0502020204030204" pitchFamily="34" charset="0"/>
              </a:rPr>
              <a:t>2031-</a:t>
            </a:r>
            <a:r>
              <a:rPr lang="ru-RU" sz="882" dirty="0">
                <a:solidFill>
                  <a:srgbClr val="000000"/>
                </a:solidFill>
                <a:latin typeface="Calibri" panose="020F0502020204030204" pitchFamily="34" charset="0"/>
              </a:rPr>
              <a:t>2035 г.</a:t>
            </a:r>
            <a:endParaRPr lang="ru-RU" sz="882" dirty="0"/>
          </a:p>
        </p:txBody>
      </p:sp>
      <p:cxnSp>
        <p:nvCxnSpPr>
          <p:cNvPr id="33" name="Прямая соединительная линия 32"/>
          <p:cNvCxnSpPr/>
          <p:nvPr/>
        </p:nvCxnSpPr>
        <p:spPr>
          <a:xfrm>
            <a:off x="4137965" y="7376257"/>
            <a:ext cx="291138" cy="0"/>
          </a:xfrm>
          <a:prstGeom prst="line">
            <a:avLst/>
          </a:prstGeom>
          <a:ln w="50800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Прямая соединительная линия 33"/>
          <p:cNvCxnSpPr/>
          <p:nvPr/>
        </p:nvCxnSpPr>
        <p:spPr>
          <a:xfrm>
            <a:off x="4137965" y="7473244"/>
            <a:ext cx="291138" cy="0"/>
          </a:xfrm>
          <a:prstGeom prst="line">
            <a:avLst/>
          </a:prstGeom>
          <a:ln w="25400">
            <a:solidFill>
              <a:srgbClr val="00B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Прямая соединительная линия 34"/>
          <p:cNvCxnSpPr/>
          <p:nvPr/>
        </p:nvCxnSpPr>
        <p:spPr>
          <a:xfrm>
            <a:off x="4857635" y="7376257"/>
            <a:ext cx="291138" cy="0"/>
          </a:xfrm>
          <a:prstGeom prst="line">
            <a:avLst/>
          </a:prstGeom>
          <a:ln w="508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Прямая соединительная линия 35"/>
          <p:cNvCxnSpPr/>
          <p:nvPr/>
        </p:nvCxnSpPr>
        <p:spPr>
          <a:xfrm>
            <a:off x="4857635" y="7473244"/>
            <a:ext cx="291138" cy="0"/>
          </a:xfrm>
          <a:prstGeom prst="line">
            <a:avLst/>
          </a:prstGeom>
          <a:ln w="254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Прямая соединительная линия 36"/>
          <p:cNvCxnSpPr/>
          <p:nvPr/>
        </p:nvCxnSpPr>
        <p:spPr>
          <a:xfrm>
            <a:off x="5607512" y="7376257"/>
            <a:ext cx="291138" cy="0"/>
          </a:xfrm>
          <a:prstGeom prst="line">
            <a:avLst/>
          </a:prstGeom>
          <a:ln w="50800"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Прямая соединительная линия 37"/>
          <p:cNvCxnSpPr/>
          <p:nvPr/>
        </p:nvCxnSpPr>
        <p:spPr>
          <a:xfrm>
            <a:off x="5607512" y="7473244"/>
            <a:ext cx="291138" cy="0"/>
          </a:xfrm>
          <a:prstGeom prst="line">
            <a:avLst/>
          </a:prstGeom>
          <a:ln w="25400"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Прямоугольник 38"/>
          <p:cNvSpPr/>
          <p:nvPr/>
        </p:nvSpPr>
        <p:spPr>
          <a:xfrm>
            <a:off x="575829" y="7209714"/>
            <a:ext cx="1935145" cy="36381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882" dirty="0">
                <a:solidFill>
                  <a:srgbClr val="000000"/>
                </a:solidFill>
                <a:latin typeface="Calibri" panose="020F0502020204030204" pitchFamily="34" charset="0"/>
              </a:rPr>
              <a:t>Существующая сеть скоростных</a:t>
            </a:r>
            <a:br>
              <a:rPr lang="ru-RU" sz="882" dirty="0">
                <a:solidFill>
                  <a:srgbClr val="000000"/>
                </a:solidFill>
                <a:latin typeface="Calibri" panose="020F0502020204030204" pitchFamily="34" charset="0"/>
              </a:rPr>
            </a:br>
            <a:r>
              <a:rPr lang="ru-RU" sz="882" dirty="0">
                <a:solidFill>
                  <a:srgbClr val="000000"/>
                </a:solidFill>
                <a:latin typeface="Calibri" panose="020F0502020204030204" pitchFamily="34" charset="0"/>
              </a:rPr>
              <a:t>автомобильных дорог ГК «Автодор»</a:t>
            </a:r>
            <a:endParaRPr lang="ru-RU" sz="882" dirty="0"/>
          </a:p>
        </p:txBody>
      </p:sp>
      <p:cxnSp>
        <p:nvCxnSpPr>
          <p:cNvPr id="40" name="Прямая соединительная линия 39"/>
          <p:cNvCxnSpPr/>
          <p:nvPr/>
        </p:nvCxnSpPr>
        <p:spPr>
          <a:xfrm>
            <a:off x="356163" y="7393576"/>
            <a:ext cx="220073" cy="0"/>
          </a:xfrm>
          <a:prstGeom prst="line">
            <a:avLst/>
          </a:prstGeom>
          <a:ln w="50800">
            <a:solidFill>
              <a:srgbClr val="E7825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Овал 41"/>
          <p:cNvSpPr/>
          <p:nvPr/>
        </p:nvSpPr>
        <p:spPr>
          <a:xfrm>
            <a:off x="6256194" y="7288699"/>
            <a:ext cx="167874" cy="167874"/>
          </a:xfrm>
          <a:prstGeom prst="ellipse">
            <a:avLst/>
          </a:prstGeom>
          <a:solidFill>
            <a:schemeClr val="accent1">
              <a:alpha val="10000"/>
            </a:schemeClr>
          </a:solidFill>
          <a:ln w="3175">
            <a:solidFill>
              <a:schemeClr val="accent1">
                <a:shade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984"/>
          </a:p>
        </p:txBody>
      </p:sp>
      <p:sp>
        <p:nvSpPr>
          <p:cNvPr id="43" name="Прямоугольник 42"/>
          <p:cNvSpPr/>
          <p:nvPr/>
        </p:nvSpPr>
        <p:spPr>
          <a:xfrm>
            <a:off x="6445168" y="7178106"/>
            <a:ext cx="1781257" cy="36381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882" dirty="0">
                <a:solidFill>
                  <a:srgbClr val="000000"/>
                </a:solidFill>
                <a:latin typeface="Calibri" panose="020F0502020204030204" pitchFamily="34" charset="0"/>
              </a:rPr>
              <a:t>Крупнейшие</a:t>
            </a:r>
          </a:p>
          <a:p>
            <a:r>
              <a:rPr lang="ru-RU" sz="882" dirty="0">
                <a:solidFill>
                  <a:srgbClr val="000000"/>
                </a:solidFill>
                <a:latin typeface="Calibri" panose="020F0502020204030204" pitchFamily="34" charset="0"/>
              </a:rPr>
              <a:t>транспортно-логистические узлы</a:t>
            </a:r>
            <a:endParaRPr lang="ru-RU" sz="882" dirty="0"/>
          </a:p>
        </p:txBody>
      </p:sp>
      <p:sp>
        <p:nvSpPr>
          <p:cNvPr id="44" name="Овал 43"/>
          <p:cNvSpPr/>
          <p:nvPr/>
        </p:nvSpPr>
        <p:spPr>
          <a:xfrm>
            <a:off x="8282233" y="7302283"/>
            <a:ext cx="136800" cy="136800"/>
          </a:xfrm>
          <a:prstGeom prst="ellipse">
            <a:avLst/>
          </a:prstGeom>
          <a:noFill/>
          <a:ln w="38100">
            <a:solidFill>
              <a:srgbClr val="0070C0">
                <a:alpha val="49000"/>
              </a:srgb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5" name="Прямоугольник 44"/>
          <p:cNvSpPr/>
          <p:nvPr/>
        </p:nvSpPr>
        <p:spPr>
          <a:xfrm>
            <a:off x="8440133" y="7178106"/>
            <a:ext cx="1760418" cy="36381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882" dirty="0">
                <a:solidFill>
                  <a:srgbClr val="000000"/>
                </a:solidFill>
                <a:latin typeface="Calibri" panose="020F0502020204030204" pitchFamily="34" charset="0"/>
              </a:rPr>
              <a:t>Перспективные крупные центры</a:t>
            </a:r>
            <a:br>
              <a:rPr lang="ru-RU" sz="882" dirty="0">
                <a:solidFill>
                  <a:srgbClr val="000000"/>
                </a:solidFill>
                <a:latin typeface="Calibri" panose="020F0502020204030204" pitchFamily="34" charset="0"/>
              </a:rPr>
            </a:br>
            <a:r>
              <a:rPr lang="ru-RU" sz="882" dirty="0">
                <a:solidFill>
                  <a:srgbClr val="000000"/>
                </a:solidFill>
                <a:latin typeface="Calibri" panose="020F0502020204030204" pitchFamily="34" charset="0"/>
              </a:rPr>
              <a:t>экономического роста РФ</a:t>
            </a:r>
            <a:endParaRPr lang="ru-RU" sz="882" dirty="0"/>
          </a:p>
        </p:txBody>
      </p:sp>
      <p:grpSp>
        <p:nvGrpSpPr>
          <p:cNvPr id="13" name="Группа 12"/>
          <p:cNvGrpSpPr/>
          <p:nvPr/>
        </p:nvGrpSpPr>
        <p:grpSpPr>
          <a:xfrm>
            <a:off x="0" y="1336962"/>
            <a:ext cx="10691813" cy="5487673"/>
            <a:chOff x="177" y="661767"/>
            <a:chExt cx="13439420" cy="6897908"/>
          </a:xfrm>
        </p:grpSpPr>
        <p:pic>
          <p:nvPicPr>
            <p:cNvPr id="75" name="Рисунок 74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8754"/>
            <a:stretch/>
          </p:blipFill>
          <p:spPr>
            <a:xfrm>
              <a:off x="177" y="661767"/>
              <a:ext cx="13439420" cy="6897908"/>
            </a:xfrm>
            <a:prstGeom prst="rect">
              <a:avLst/>
            </a:prstGeom>
          </p:spPr>
        </p:pic>
        <p:grpSp>
          <p:nvGrpSpPr>
            <p:cNvPr id="76" name="Группа 75"/>
            <p:cNvGrpSpPr/>
            <p:nvPr/>
          </p:nvGrpSpPr>
          <p:grpSpPr>
            <a:xfrm>
              <a:off x="5657629" y="2459777"/>
              <a:ext cx="1825861" cy="615000"/>
              <a:chOff x="5132339" y="2231465"/>
              <a:chExt cx="1656388" cy="557917"/>
            </a:xfrm>
          </p:grpSpPr>
          <p:sp>
            <p:nvSpPr>
              <p:cNvPr id="77" name="Полилиния 76"/>
              <p:cNvSpPr/>
              <p:nvPr/>
            </p:nvSpPr>
            <p:spPr>
              <a:xfrm>
                <a:off x="6286885" y="2231465"/>
                <a:ext cx="501842" cy="28395"/>
              </a:xfrm>
              <a:custGeom>
                <a:avLst/>
                <a:gdLst>
                  <a:gd name="connsiteX0" fmla="*/ 501842 w 501842"/>
                  <a:gd name="connsiteY0" fmla="*/ 9893 h 28395"/>
                  <a:gd name="connsiteX1" fmla="*/ 443345 w 501842"/>
                  <a:gd name="connsiteY1" fmla="*/ 3735 h 28395"/>
                  <a:gd name="connsiteX2" fmla="*/ 403321 w 501842"/>
                  <a:gd name="connsiteY2" fmla="*/ 6814 h 28395"/>
                  <a:gd name="connsiteX3" fmla="*/ 372533 w 501842"/>
                  <a:gd name="connsiteY3" fmla="*/ 656 h 28395"/>
                  <a:gd name="connsiteX4" fmla="*/ 314036 w 501842"/>
                  <a:gd name="connsiteY4" fmla="*/ 25287 h 28395"/>
                  <a:gd name="connsiteX5" fmla="*/ 261697 w 501842"/>
                  <a:gd name="connsiteY5" fmla="*/ 3735 h 28395"/>
                  <a:gd name="connsiteX6" fmla="*/ 221673 w 501842"/>
                  <a:gd name="connsiteY6" fmla="*/ 9893 h 28395"/>
                  <a:gd name="connsiteX7" fmla="*/ 190885 w 501842"/>
                  <a:gd name="connsiteY7" fmla="*/ 3735 h 28395"/>
                  <a:gd name="connsiteX8" fmla="*/ 160097 w 501842"/>
                  <a:gd name="connsiteY8" fmla="*/ 25287 h 28395"/>
                  <a:gd name="connsiteX9" fmla="*/ 86206 w 501842"/>
                  <a:gd name="connsiteY9" fmla="*/ 22208 h 28395"/>
                  <a:gd name="connsiteX10" fmla="*/ 33867 w 501842"/>
                  <a:gd name="connsiteY10" fmla="*/ 28365 h 28395"/>
                  <a:gd name="connsiteX11" fmla="*/ 0 w 501842"/>
                  <a:gd name="connsiteY11" fmla="*/ 19129 h 283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501842" h="28395">
                    <a:moveTo>
                      <a:pt x="501842" y="9893"/>
                    </a:moveTo>
                    <a:cubicBezTo>
                      <a:pt x="480803" y="7070"/>
                      <a:pt x="459765" y="4248"/>
                      <a:pt x="443345" y="3735"/>
                    </a:cubicBezTo>
                    <a:cubicBezTo>
                      <a:pt x="426925" y="3222"/>
                      <a:pt x="415123" y="7327"/>
                      <a:pt x="403321" y="6814"/>
                    </a:cubicBezTo>
                    <a:cubicBezTo>
                      <a:pt x="391519" y="6301"/>
                      <a:pt x="387414" y="-2423"/>
                      <a:pt x="372533" y="656"/>
                    </a:cubicBezTo>
                    <a:cubicBezTo>
                      <a:pt x="357652" y="3735"/>
                      <a:pt x="332509" y="24774"/>
                      <a:pt x="314036" y="25287"/>
                    </a:cubicBezTo>
                    <a:cubicBezTo>
                      <a:pt x="295563" y="25800"/>
                      <a:pt x="277091" y="6301"/>
                      <a:pt x="261697" y="3735"/>
                    </a:cubicBezTo>
                    <a:cubicBezTo>
                      <a:pt x="246303" y="1169"/>
                      <a:pt x="233475" y="9893"/>
                      <a:pt x="221673" y="9893"/>
                    </a:cubicBezTo>
                    <a:cubicBezTo>
                      <a:pt x="209871" y="9893"/>
                      <a:pt x="201148" y="1169"/>
                      <a:pt x="190885" y="3735"/>
                    </a:cubicBezTo>
                    <a:cubicBezTo>
                      <a:pt x="180622" y="6301"/>
                      <a:pt x="177543" y="22208"/>
                      <a:pt x="160097" y="25287"/>
                    </a:cubicBezTo>
                    <a:cubicBezTo>
                      <a:pt x="142651" y="28366"/>
                      <a:pt x="107244" y="21695"/>
                      <a:pt x="86206" y="22208"/>
                    </a:cubicBezTo>
                    <a:cubicBezTo>
                      <a:pt x="65168" y="22721"/>
                      <a:pt x="48235" y="28878"/>
                      <a:pt x="33867" y="28365"/>
                    </a:cubicBezTo>
                    <a:cubicBezTo>
                      <a:pt x="19499" y="27852"/>
                      <a:pt x="2053" y="20668"/>
                      <a:pt x="0" y="19129"/>
                    </a:cubicBezTo>
                  </a:path>
                </a:pathLst>
              </a:custGeom>
              <a:noFill/>
              <a:ln w="15875">
                <a:solidFill>
                  <a:srgbClr val="00B05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sz="1400"/>
              </a:p>
            </p:txBody>
          </p:sp>
          <p:sp>
            <p:nvSpPr>
              <p:cNvPr id="78" name="Полилиния 77"/>
              <p:cNvSpPr/>
              <p:nvPr/>
            </p:nvSpPr>
            <p:spPr>
              <a:xfrm>
                <a:off x="5738861" y="2262909"/>
                <a:ext cx="554181" cy="526473"/>
              </a:xfrm>
              <a:custGeom>
                <a:avLst/>
                <a:gdLst>
                  <a:gd name="connsiteX0" fmla="*/ 0 w 554181"/>
                  <a:gd name="connsiteY0" fmla="*/ 526473 h 526473"/>
                  <a:gd name="connsiteX1" fmla="*/ 98521 w 554181"/>
                  <a:gd name="connsiteY1" fmla="*/ 477212 h 526473"/>
                  <a:gd name="connsiteX2" fmla="*/ 153939 w 554181"/>
                  <a:gd name="connsiteY2" fmla="*/ 443346 h 526473"/>
                  <a:gd name="connsiteX3" fmla="*/ 218594 w 554181"/>
                  <a:gd name="connsiteY3" fmla="*/ 360218 h 526473"/>
                  <a:gd name="connsiteX4" fmla="*/ 264775 w 554181"/>
                  <a:gd name="connsiteY4" fmla="*/ 335588 h 526473"/>
                  <a:gd name="connsiteX5" fmla="*/ 341745 w 554181"/>
                  <a:gd name="connsiteY5" fmla="*/ 323273 h 526473"/>
                  <a:gd name="connsiteX6" fmla="*/ 406400 w 554181"/>
                  <a:gd name="connsiteY6" fmla="*/ 258618 h 526473"/>
                  <a:gd name="connsiteX7" fmla="*/ 409478 w 554181"/>
                  <a:gd name="connsiteY7" fmla="*/ 153939 h 526473"/>
                  <a:gd name="connsiteX8" fmla="*/ 397163 w 554181"/>
                  <a:gd name="connsiteY8" fmla="*/ 98521 h 526473"/>
                  <a:gd name="connsiteX9" fmla="*/ 434109 w 554181"/>
                  <a:gd name="connsiteY9" fmla="*/ 30788 h 526473"/>
                  <a:gd name="connsiteX10" fmla="*/ 554181 w 554181"/>
                  <a:gd name="connsiteY10" fmla="*/ 0 h 5264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554181" h="526473">
                    <a:moveTo>
                      <a:pt x="0" y="526473"/>
                    </a:moveTo>
                    <a:cubicBezTo>
                      <a:pt x="36432" y="508769"/>
                      <a:pt x="72865" y="491066"/>
                      <a:pt x="98521" y="477212"/>
                    </a:cubicBezTo>
                    <a:cubicBezTo>
                      <a:pt x="124178" y="463357"/>
                      <a:pt x="133927" y="462845"/>
                      <a:pt x="153939" y="443346"/>
                    </a:cubicBezTo>
                    <a:cubicBezTo>
                      <a:pt x="173951" y="423847"/>
                      <a:pt x="200121" y="378178"/>
                      <a:pt x="218594" y="360218"/>
                    </a:cubicBezTo>
                    <a:cubicBezTo>
                      <a:pt x="237067" y="342258"/>
                      <a:pt x="244250" y="341745"/>
                      <a:pt x="264775" y="335588"/>
                    </a:cubicBezTo>
                    <a:cubicBezTo>
                      <a:pt x="285300" y="329431"/>
                      <a:pt x="318141" y="336101"/>
                      <a:pt x="341745" y="323273"/>
                    </a:cubicBezTo>
                    <a:cubicBezTo>
                      <a:pt x="365349" y="310445"/>
                      <a:pt x="395111" y="286840"/>
                      <a:pt x="406400" y="258618"/>
                    </a:cubicBezTo>
                    <a:cubicBezTo>
                      <a:pt x="417689" y="230396"/>
                      <a:pt x="411017" y="180622"/>
                      <a:pt x="409478" y="153939"/>
                    </a:cubicBezTo>
                    <a:cubicBezTo>
                      <a:pt x="407939" y="127256"/>
                      <a:pt x="393058" y="119046"/>
                      <a:pt x="397163" y="98521"/>
                    </a:cubicBezTo>
                    <a:cubicBezTo>
                      <a:pt x="401268" y="77996"/>
                      <a:pt x="407939" y="47208"/>
                      <a:pt x="434109" y="30788"/>
                    </a:cubicBezTo>
                    <a:cubicBezTo>
                      <a:pt x="460279" y="14368"/>
                      <a:pt x="530064" y="3079"/>
                      <a:pt x="554181" y="0"/>
                    </a:cubicBezTo>
                  </a:path>
                </a:pathLst>
              </a:custGeom>
              <a:noFill/>
              <a:ln w="50800">
                <a:solidFill>
                  <a:srgbClr val="00B05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sz="1400"/>
              </a:p>
            </p:txBody>
          </p:sp>
          <p:sp>
            <p:nvSpPr>
              <p:cNvPr id="79" name="Полилиния 78"/>
              <p:cNvSpPr/>
              <p:nvPr/>
            </p:nvSpPr>
            <p:spPr>
              <a:xfrm>
                <a:off x="5132339" y="2598497"/>
                <a:ext cx="600364" cy="190885"/>
              </a:xfrm>
              <a:custGeom>
                <a:avLst/>
                <a:gdLst>
                  <a:gd name="connsiteX0" fmla="*/ 0 w 600364"/>
                  <a:gd name="connsiteY0" fmla="*/ 0 h 190885"/>
                  <a:gd name="connsiteX1" fmla="*/ 58497 w 600364"/>
                  <a:gd name="connsiteY1" fmla="*/ 67733 h 190885"/>
                  <a:gd name="connsiteX2" fmla="*/ 80049 w 600364"/>
                  <a:gd name="connsiteY2" fmla="*/ 49261 h 190885"/>
                  <a:gd name="connsiteX3" fmla="*/ 166255 w 600364"/>
                  <a:gd name="connsiteY3" fmla="*/ 52339 h 190885"/>
                  <a:gd name="connsiteX4" fmla="*/ 206279 w 600364"/>
                  <a:gd name="connsiteY4" fmla="*/ 40024 h 190885"/>
                  <a:gd name="connsiteX5" fmla="*/ 280170 w 600364"/>
                  <a:gd name="connsiteY5" fmla="*/ 107758 h 190885"/>
                  <a:gd name="connsiteX6" fmla="*/ 384849 w 600364"/>
                  <a:gd name="connsiteY6" fmla="*/ 135467 h 190885"/>
                  <a:gd name="connsiteX7" fmla="*/ 421794 w 600364"/>
                  <a:gd name="connsiteY7" fmla="*/ 123151 h 190885"/>
                  <a:gd name="connsiteX8" fmla="*/ 449503 w 600364"/>
                  <a:gd name="connsiteY8" fmla="*/ 135467 h 190885"/>
                  <a:gd name="connsiteX9" fmla="*/ 492606 w 600364"/>
                  <a:gd name="connsiteY9" fmla="*/ 120073 h 190885"/>
                  <a:gd name="connsiteX10" fmla="*/ 560340 w 600364"/>
                  <a:gd name="connsiteY10" fmla="*/ 138545 h 190885"/>
                  <a:gd name="connsiteX11" fmla="*/ 600364 w 600364"/>
                  <a:gd name="connsiteY11" fmla="*/ 190885 h 190885"/>
                  <a:gd name="connsiteX0" fmla="*/ 0 w 600364"/>
                  <a:gd name="connsiteY0" fmla="*/ 0 h 190885"/>
                  <a:gd name="connsiteX1" fmla="*/ 58497 w 600364"/>
                  <a:gd name="connsiteY1" fmla="*/ 67733 h 190885"/>
                  <a:gd name="connsiteX2" fmla="*/ 95443 w 600364"/>
                  <a:gd name="connsiteY2" fmla="*/ 49261 h 190885"/>
                  <a:gd name="connsiteX3" fmla="*/ 166255 w 600364"/>
                  <a:gd name="connsiteY3" fmla="*/ 52339 h 190885"/>
                  <a:gd name="connsiteX4" fmla="*/ 206279 w 600364"/>
                  <a:gd name="connsiteY4" fmla="*/ 40024 h 190885"/>
                  <a:gd name="connsiteX5" fmla="*/ 280170 w 600364"/>
                  <a:gd name="connsiteY5" fmla="*/ 107758 h 190885"/>
                  <a:gd name="connsiteX6" fmla="*/ 384849 w 600364"/>
                  <a:gd name="connsiteY6" fmla="*/ 135467 h 190885"/>
                  <a:gd name="connsiteX7" fmla="*/ 421794 w 600364"/>
                  <a:gd name="connsiteY7" fmla="*/ 123151 h 190885"/>
                  <a:gd name="connsiteX8" fmla="*/ 449503 w 600364"/>
                  <a:gd name="connsiteY8" fmla="*/ 135467 h 190885"/>
                  <a:gd name="connsiteX9" fmla="*/ 492606 w 600364"/>
                  <a:gd name="connsiteY9" fmla="*/ 120073 h 190885"/>
                  <a:gd name="connsiteX10" fmla="*/ 560340 w 600364"/>
                  <a:gd name="connsiteY10" fmla="*/ 138545 h 190885"/>
                  <a:gd name="connsiteX11" fmla="*/ 600364 w 600364"/>
                  <a:gd name="connsiteY11" fmla="*/ 190885 h 1908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600364" h="190885">
                    <a:moveTo>
                      <a:pt x="0" y="0"/>
                    </a:moveTo>
                    <a:cubicBezTo>
                      <a:pt x="22578" y="29761"/>
                      <a:pt x="42590" y="59523"/>
                      <a:pt x="58497" y="67733"/>
                    </a:cubicBezTo>
                    <a:cubicBezTo>
                      <a:pt x="74404" y="75943"/>
                      <a:pt x="77483" y="51827"/>
                      <a:pt x="95443" y="49261"/>
                    </a:cubicBezTo>
                    <a:cubicBezTo>
                      <a:pt x="113403" y="46695"/>
                      <a:pt x="147782" y="53878"/>
                      <a:pt x="166255" y="52339"/>
                    </a:cubicBezTo>
                    <a:cubicBezTo>
                      <a:pt x="184728" y="50800"/>
                      <a:pt x="187293" y="30788"/>
                      <a:pt x="206279" y="40024"/>
                    </a:cubicBezTo>
                    <a:cubicBezTo>
                      <a:pt x="225265" y="49261"/>
                      <a:pt x="250408" y="91851"/>
                      <a:pt x="280170" y="107758"/>
                    </a:cubicBezTo>
                    <a:cubicBezTo>
                      <a:pt x="309932" y="123665"/>
                      <a:pt x="361245" y="132902"/>
                      <a:pt x="384849" y="135467"/>
                    </a:cubicBezTo>
                    <a:cubicBezTo>
                      <a:pt x="408453" y="138032"/>
                      <a:pt x="411018" y="123151"/>
                      <a:pt x="421794" y="123151"/>
                    </a:cubicBezTo>
                    <a:cubicBezTo>
                      <a:pt x="432570" y="123151"/>
                      <a:pt x="437701" y="135980"/>
                      <a:pt x="449503" y="135467"/>
                    </a:cubicBezTo>
                    <a:cubicBezTo>
                      <a:pt x="461305" y="134954"/>
                      <a:pt x="474133" y="119560"/>
                      <a:pt x="492606" y="120073"/>
                    </a:cubicBezTo>
                    <a:cubicBezTo>
                      <a:pt x="511079" y="120586"/>
                      <a:pt x="542380" y="126743"/>
                      <a:pt x="560340" y="138545"/>
                    </a:cubicBezTo>
                    <a:cubicBezTo>
                      <a:pt x="578300" y="150347"/>
                      <a:pt x="589332" y="170616"/>
                      <a:pt x="600364" y="190885"/>
                    </a:cubicBezTo>
                  </a:path>
                </a:pathLst>
              </a:custGeom>
              <a:noFill/>
              <a:ln w="25400">
                <a:solidFill>
                  <a:srgbClr val="00B05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sz="1400"/>
              </a:p>
            </p:txBody>
          </p:sp>
        </p:grpSp>
        <p:sp>
          <p:nvSpPr>
            <p:cNvPr id="80" name="Полилиния 79"/>
            <p:cNvSpPr/>
            <p:nvPr/>
          </p:nvSpPr>
          <p:spPr>
            <a:xfrm>
              <a:off x="2521563" y="2775465"/>
              <a:ext cx="2626071" cy="285859"/>
            </a:xfrm>
            <a:custGeom>
              <a:avLst/>
              <a:gdLst>
                <a:gd name="connsiteX0" fmla="*/ 0 w 2382324"/>
                <a:gd name="connsiteY0" fmla="*/ 130381 h 259326"/>
                <a:gd name="connsiteX1" fmla="*/ 70547 w 2382324"/>
                <a:gd name="connsiteY1" fmla="*/ 116814 h 259326"/>
                <a:gd name="connsiteX2" fmla="*/ 86827 w 2382324"/>
                <a:gd name="connsiteY2" fmla="*/ 86967 h 259326"/>
                <a:gd name="connsiteX3" fmla="*/ 146521 w 2382324"/>
                <a:gd name="connsiteY3" fmla="*/ 95107 h 259326"/>
                <a:gd name="connsiteX4" fmla="*/ 217068 w 2382324"/>
                <a:gd name="connsiteY4" fmla="*/ 81540 h 259326"/>
                <a:gd name="connsiteX5" fmla="*/ 246915 w 2382324"/>
                <a:gd name="connsiteY5" fmla="*/ 57120 h 259326"/>
                <a:gd name="connsiteX6" fmla="*/ 271335 w 2382324"/>
                <a:gd name="connsiteY6" fmla="*/ 70687 h 259326"/>
                <a:gd name="connsiteX7" fmla="*/ 328315 w 2382324"/>
                <a:gd name="connsiteY7" fmla="*/ 27273 h 259326"/>
                <a:gd name="connsiteX8" fmla="*/ 412429 w 2382324"/>
                <a:gd name="connsiteY8" fmla="*/ 140 h 259326"/>
                <a:gd name="connsiteX9" fmla="*/ 455843 w 2382324"/>
                <a:gd name="connsiteY9" fmla="*/ 16420 h 259326"/>
                <a:gd name="connsiteX10" fmla="*/ 504683 w 2382324"/>
                <a:gd name="connsiteY10" fmla="*/ 10993 h 259326"/>
                <a:gd name="connsiteX11" fmla="*/ 526390 w 2382324"/>
                <a:gd name="connsiteY11" fmla="*/ 13706 h 259326"/>
                <a:gd name="connsiteX12" fmla="*/ 539957 w 2382324"/>
                <a:gd name="connsiteY12" fmla="*/ 13706 h 259326"/>
                <a:gd name="connsiteX13" fmla="*/ 624071 w 2382324"/>
                <a:gd name="connsiteY13" fmla="*/ 73400 h 259326"/>
                <a:gd name="connsiteX14" fmla="*/ 681051 w 2382324"/>
                <a:gd name="connsiteY14" fmla="*/ 122241 h 259326"/>
                <a:gd name="connsiteX15" fmla="*/ 727178 w 2382324"/>
                <a:gd name="connsiteY15" fmla="*/ 143947 h 259326"/>
                <a:gd name="connsiteX16" fmla="*/ 789585 w 2382324"/>
                <a:gd name="connsiteY16" fmla="*/ 135807 h 259326"/>
                <a:gd name="connsiteX17" fmla="*/ 827572 w 2382324"/>
                <a:gd name="connsiteY17" fmla="*/ 157514 h 259326"/>
                <a:gd name="connsiteX18" fmla="*/ 841139 w 2382324"/>
                <a:gd name="connsiteY18" fmla="*/ 152087 h 259326"/>
                <a:gd name="connsiteX19" fmla="*/ 881839 w 2382324"/>
                <a:gd name="connsiteY19" fmla="*/ 176508 h 259326"/>
                <a:gd name="connsiteX20" fmla="*/ 955100 w 2382324"/>
                <a:gd name="connsiteY20" fmla="*/ 162941 h 259326"/>
                <a:gd name="connsiteX21" fmla="*/ 1036501 w 2382324"/>
                <a:gd name="connsiteY21" fmla="*/ 192788 h 259326"/>
                <a:gd name="connsiteX22" fmla="*/ 1107048 w 2382324"/>
                <a:gd name="connsiteY22" fmla="*/ 187361 h 259326"/>
                <a:gd name="connsiteX23" fmla="*/ 1183022 w 2382324"/>
                <a:gd name="connsiteY23" fmla="*/ 206355 h 259326"/>
                <a:gd name="connsiteX24" fmla="*/ 1221009 w 2382324"/>
                <a:gd name="connsiteY24" fmla="*/ 192788 h 259326"/>
                <a:gd name="connsiteX25" fmla="*/ 1286129 w 2382324"/>
                <a:gd name="connsiteY25" fmla="*/ 217208 h 259326"/>
                <a:gd name="connsiteX26" fmla="*/ 1329543 w 2382324"/>
                <a:gd name="connsiteY26" fmla="*/ 211781 h 259326"/>
                <a:gd name="connsiteX27" fmla="*/ 1375670 w 2382324"/>
                <a:gd name="connsiteY27" fmla="*/ 200928 h 259326"/>
                <a:gd name="connsiteX28" fmla="*/ 1451644 w 2382324"/>
                <a:gd name="connsiteY28" fmla="*/ 219921 h 259326"/>
                <a:gd name="connsiteX29" fmla="*/ 1533044 w 2382324"/>
                <a:gd name="connsiteY29" fmla="*/ 217208 h 259326"/>
                <a:gd name="connsiteX30" fmla="*/ 1590025 w 2382324"/>
                <a:gd name="connsiteY30" fmla="*/ 198214 h 259326"/>
                <a:gd name="connsiteX31" fmla="*/ 1693132 w 2382324"/>
                <a:gd name="connsiteY31" fmla="*/ 222635 h 259326"/>
                <a:gd name="connsiteX32" fmla="*/ 1752826 w 2382324"/>
                <a:gd name="connsiteY32" fmla="*/ 214495 h 259326"/>
                <a:gd name="connsiteX33" fmla="*/ 1850507 w 2382324"/>
                <a:gd name="connsiteY33" fmla="*/ 255195 h 259326"/>
                <a:gd name="connsiteX34" fmla="*/ 1959041 w 2382324"/>
                <a:gd name="connsiteY34" fmla="*/ 255195 h 259326"/>
                <a:gd name="connsiteX35" fmla="*/ 2064861 w 2382324"/>
                <a:gd name="connsiteY35" fmla="*/ 230775 h 259326"/>
                <a:gd name="connsiteX36" fmla="*/ 2154402 w 2382324"/>
                <a:gd name="connsiteY36" fmla="*/ 217208 h 259326"/>
                <a:gd name="connsiteX37" fmla="*/ 2211382 w 2382324"/>
                <a:gd name="connsiteY37" fmla="*/ 195501 h 259326"/>
                <a:gd name="connsiteX38" fmla="*/ 2276503 w 2382324"/>
                <a:gd name="connsiteY38" fmla="*/ 198214 h 259326"/>
                <a:gd name="connsiteX39" fmla="*/ 2333483 w 2382324"/>
                <a:gd name="connsiteY39" fmla="*/ 160228 h 259326"/>
                <a:gd name="connsiteX40" fmla="*/ 2366044 w 2382324"/>
                <a:gd name="connsiteY40" fmla="*/ 149374 h 259326"/>
                <a:gd name="connsiteX41" fmla="*/ 2382324 w 2382324"/>
                <a:gd name="connsiteY41" fmla="*/ 133094 h 259326"/>
                <a:gd name="connsiteX0" fmla="*/ 0 w 2382324"/>
                <a:gd name="connsiteY0" fmla="*/ 130381 h 259326"/>
                <a:gd name="connsiteX1" fmla="*/ 70547 w 2382324"/>
                <a:gd name="connsiteY1" fmla="*/ 116814 h 259326"/>
                <a:gd name="connsiteX2" fmla="*/ 86827 w 2382324"/>
                <a:gd name="connsiteY2" fmla="*/ 86967 h 259326"/>
                <a:gd name="connsiteX3" fmla="*/ 146521 w 2382324"/>
                <a:gd name="connsiteY3" fmla="*/ 95107 h 259326"/>
                <a:gd name="connsiteX4" fmla="*/ 217068 w 2382324"/>
                <a:gd name="connsiteY4" fmla="*/ 81540 h 259326"/>
                <a:gd name="connsiteX5" fmla="*/ 246915 w 2382324"/>
                <a:gd name="connsiteY5" fmla="*/ 57120 h 259326"/>
                <a:gd name="connsiteX6" fmla="*/ 271335 w 2382324"/>
                <a:gd name="connsiteY6" fmla="*/ 70687 h 259326"/>
                <a:gd name="connsiteX7" fmla="*/ 328315 w 2382324"/>
                <a:gd name="connsiteY7" fmla="*/ 27273 h 259326"/>
                <a:gd name="connsiteX8" fmla="*/ 412429 w 2382324"/>
                <a:gd name="connsiteY8" fmla="*/ 140 h 259326"/>
                <a:gd name="connsiteX9" fmla="*/ 455843 w 2382324"/>
                <a:gd name="connsiteY9" fmla="*/ 16420 h 259326"/>
                <a:gd name="connsiteX10" fmla="*/ 504683 w 2382324"/>
                <a:gd name="connsiteY10" fmla="*/ 10993 h 259326"/>
                <a:gd name="connsiteX11" fmla="*/ 526390 w 2382324"/>
                <a:gd name="connsiteY11" fmla="*/ 13706 h 259326"/>
                <a:gd name="connsiteX12" fmla="*/ 539957 w 2382324"/>
                <a:gd name="connsiteY12" fmla="*/ 13706 h 259326"/>
                <a:gd name="connsiteX13" fmla="*/ 607791 w 2382324"/>
                <a:gd name="connsiteY13" fmla="*/ 73400 h 259326"/>
                <a:gd name="connsiteX14" fmla="*/ 681051 w 2382324"/>
                <a:gd name="connsiteY14" fmla="*/ 122241 h 259326"/>
                <a:gd name="connsiteX15" fmla="*/ 727178 w 2382324"/>
                <a:gd name="connsiteY15" fmla="*/ 143947 h 259326"/>
                <a:gd name="connsiteX16" fmla="*/ 789585 w 2382324"/>
                <a:gd name="connsiteY16" fmla="*/ 135807 h 259326"/>
                <a:gd name="connsiteX17" fmla="*/ 827572 w 2382324"/>
                <a:gd name="connsiteY17" fmla="*/ 157514 h 259326"/>
                <a:gd name="connsiteX18" fmla="*/ 841139 w 2382324"/>
                <a:gd name="connsiteY18" fmla="*/ 152087 h 259326"/>
                <a:gd name="connsiteX19" fmla="*/ 881839 w 2382324"/>
                <a:gd name="connsiteY19" fmla="*/ 176508 h 259326"/>
                <a:gd name="connsiteX20" fmla="*/ 955100 w 2382324"/>
                <a:gd name="connsiteY20" fmla="*/ 162941 h 259326"/>
                <a:gd name="connsiteX21" fmla="*/ 1036501 w 2382324"/>
                <a:gd name="connsiteY21" fmla="*/ 192788 h 259326"/>
                <a:gd name="connsiteX22" fmla="*/ 1107048 w 2382324"/>
                <a:gd name="connsiteY22" fmla="*/ 187361 h 259326"/>
                <a:gd name="connsiteX23" fmla="*/ 1183022 w 2382324"/>
                <a:gd name="connsiteY23" fmla="*/ 206355 h 259326"/>
                <a:gd name="connsiteX24" fmla="*/ 1221009 w 2382324"/>
                <a:gd name="connsiteY24" fmla="*/ 192788 h 259326"/>
                <a:gd name="connsiteX25" fmla="*/ 1286129 w 2382324"/>
                <a:gd name="connsiteY25" fmla="*/ 217208 h 259326"/>
                <a:gd name="connsiteX26" fmla="*/ 1329543 w 2382324"/>
                <a:gd name="connsiteY26" fmla="*/ 211781 h 259326"/>
                <a:gd name="connsiteX27" fmla="*/ 1375670 w 2382324"/>
                <a:gd name="connsiteY27" fmla="*/ 200928 h 259326"/>
                <a:gd name="connsiteX28" fmla="*/ 1451644 w 2382324"/>
                <a:gd name="connsiteY28" fmla="*/ 219921 h 259326"/>
                <a:gd name="connsiteX29" fmla="*/ 1533044 w 2382324"/>
                <a:gd name="connsiteY29" fmla="*/ 217208 h 259326"/>
                <a:gd name="connsiteX30" fmla="*/ 1590025 w 2382324"/>
                <a:gd name="connsiteY30" fmla="*/ 198214 h 259326"/>
                <a:gd name="connsiteX31" fmla="*/ 1693132 w 2382324"/>
                <a:gd name="connsiteY31" fmla="*/ 222635 h 259326"/>
                <a:gd name="connsiteX32" fmla="*/ 1752826 w 2382324"/>
                <a:gd name="connsiteY32" fmla="*/ 214495 h 259326"/>
                <a:gd name="connsiteX33" fmla="*/ 1850507 w 2382324"/>
                <a:gd name="connsiteY33" fmla="*/ 255195 h 259326"/>
                <a:gd name="connsiteX34" fmla="*/ 1959041 w 2382324"/>
                <a:gd name="connsiteY34" fmla="*/ 255195 h 259326"/>
                <a:gd name="connsiteX35" fmla="*/ 2064861 w 2382324"/>
                <a:gd name="connsiteY35" fmla="*/ 230775 h 259326"/>
                <a:gd name="connsiteX36" fmla="*/ 2154402 w 2382324"/>
                <a:gd name="connsiteY36" fmla="*/ 217208 h 259326"/>
                <a:gd name="connsiteX37" fmla="*/ 2211382 w 2382324"/>
                <a:gd name="connsiteY37" fmla="*/ 195501 h 259326"/>
                <a:gd name="connsiteX38" fmla="*/ 2276503 w 2382324"/>
                <a:gd name="connsiteY38" fmla="*/ 198214 h 259326"/>
                <a:gd name="connsiteX39" fmla="*/ 2333483 w 2382324"/>
                <a:gd name="connsiteY39" fmla="*/ 160228 h 259326"/>
                <a:gd name="connsiteX40" fmla="*/ 2366044 w 2382324"/>
                <a:gd name="connsiteY40" fmla="*/ 149374 h 259326"/>
                <a:gd name="connsiteX41" fmla="*/ 2382324 w 2382324"/>
                <a:gd name="connsiteY41" fmla="*/ 133094 h 259326"/>
                <a:gd name="connsiteX0" fmla="*/ 0 w 2382324"/>
                <a:gd name="connsiteY0" fmla="*/ 130381 h 259326"/>
                <a:gd name="connsiteX1" fmla="*/ 70547 w 2382324"/>
                <a:gd name="connsiteY1" fmla="*/ 116814 h 259326"/>
                <a:gd name="connsiteX2" fmla="*/ 86827 w 2382324"/>
                <a:gd name="connsiteY2" fmla="*/ 86967 h 259326"/>
                <a:gd name="connsiteX3" fmla="*/ 146521 w 2382324"/>
                <a:gd name="connsiteY3" fmla="*/ 95107 h 259326"/>
                <a:gd name="connsiteX4" fmla="*/ 217068 w 2382324"/>
                <a:gd name="connsiteY4" fmla="*/ 81540 h 259326"/>
                <a:gd name="connsiteX5" fmla="*/ 246915 w 2382324"/>
                <a:gd name="connsiteY5" fmla="*/ 57120 h 259326"/>
                <a:gd name="connsiteX6" fmla="*/ 271335 w 2382324"/>
                <a:gd name="connsiteY6" fmla="*/ 70687 h 259326"/>
                <a:gd name="connsiteX7" fmla="*/ 328315 w 2382324"/>
                <a:gd name="connsiteY7" fmla="*/ 27273 h 259326"/>
                <a:gd name="connsiteX8" fmla="*/ 412429 w 2382324"/>
                <a:gd name="connsiteY8" fmla="*/ 140 h 259326"/>
                <a:gd name="connsiteX9" fmla="*/ 455843 w 2382324"/>
                <a:gd name="connsiteY9" fmla="*/ 16420 h 259326"/>
                <a:gd name="connsiteX10" fmla="*/ 504683 w 2382324"/>
                <a:gd name="connsiteY10" fmla="*/ 10993 h 259326"/>
                <a:gd name="connsiteX11" fmla="*/ 526390 w 2382324"/>
                <a:gd name="connsiteY11" fmla="*/ 13706 h 259326"/>
                <a:gd name="connsiteX12" fmla="*/ 539957 w 2382324"/>
                <a:gd name="connsiteY12" fmla="*/ 13706 h 259326"/>
                <a:gd name="connsiteX13" fmla="*/ 607791 w 2382324"/>
                <a:gd name="connsiteY13" fmla="*/ 73400 h 259326"/>
                <a:gd name="connsiteX14" fmla="*/ 681051 w 2382324"/>
                <a:gd name="connsiteY14" fmla="*/ 122241 h 259326"/>
                <a:gd name="connsiteX15" fmla="*/ 727178 w 2382324"/>
                <a:gd name="connsiteY15" fmla="*/ 143947 h 259326"/>
                <a:gd name="connsiteX16" fmla="*/ 789585 w 2382324"/>
                <a:gd name="connsiteY16" fmla="*/ 135807 h 259326"/>
                <a:gd name="connsiteX17" fmla="*/ 827572 w 2382324"/>
                <a:gd name="connsiteY17" fmla="*/ 157514 h 259326"/>
                <a:gd name="connsiteX18" fmla="*/ 841139 w 2382324"/>
                <a:gd name="connsiteY18" fmla="*/ 152087 h 259326"/>
                <a:gd name="connsiteX19" fmla="*/ 881839 w 2382324"/>
                <a:gd name="connsiteY19" fmla="*/ 176508 h 259326"/>
                <a:gd name="connsiteX20" fmla="*/ 955100 w 2382324"/>
                <a:gd name="connsiteY20" fmla="*/ 162941 h 259326"/>
                <a:gd name="connsiteX21" fmla="*/ 1036501 w 2382324"/>
                <a:gd name="connsiteY21" fmla="*/ 192788 h 259326"/>
                <a:gd name="connsiteX22" fmla="*/ 1107048 w 2382324"/>
                <a:gd name="connsiteY22" fmla="*/ 187361 h 259326"/>
                <a:gd name="connsiteX23" fmla="*/ 1183022 w 2382324"/>
                <a:gd name="connsiteY23" fmla="*/ 206355 h 259326"/>
                <a:gd name="connsiteX24" fmla="*/ 1221009 w 2382324"/>
                <a:gd name="connsiteY24" fmla="*/ 192788 h 259326"/>
                <a:gd name="connsiteX25" fmla="*/ 1286129 w 2382324"/>
                <a:gd name="connsiteY25" fmla="*/ 217208 h 259326"/>
                <a:gd name="connsiteX26" fmla="*/ 1329543 w 2382324"/>
                <a:gd name="connsiteY26" fmla="*/ 211781 h 259326"/>
                <a:gd name="connsiteX27" fmla="*/ 1375670 w 2382324"/>
                <a:gd name="connsiteY27" fmla="*/ 200928 h 259326"/>
                <a:gd name="connsiteX28" fmla="*/ 1451644 w 2382324"/>
                <a:gd name="connsiteY28" fmla="*/ 219921 h 259326"/>
                <a:gd name="connsiteX29" fmla="*/ 1533044 w 2382324"/>
                <a:gd name="connsiteY29" fmla="*/ 217208 h 259326"/>
                <a:gd name="connsiteX30" fmla="*/ 1606305 w 2382324"/>
                <a:gd name="connsiteY30" fmla="*/ 203641 h 259326"/>
                <a:gd name="connsiteX31" fmla="*/ 1693132 w 2382324"/>
                <a:gd name="connsiteY31" fmla="*/ 222635 h 259326"/>
                <a:gd name="connsiteX32" fmla="*/ 1752826 w 2382324"/>
                <a:gd name="connsiteY32" fmla="*/ 214495 h 259326"/>
                <a:gd name="connsiteX33" fmla="*/ 1850507 w 2382324"/>
                <a:gd name="connsiteY33" fmla="*/ 255195 h 259326"/>
                <a:gd name="connsiteX34" fmla="*/ 1959041 w 2382324"/>
                <a:gd name="connsiteY34" fmla="*/ 255195 h 259326"/>
                <a:gd name="connsiteX35" fmla="*/ 2064861 w 2382324"/>
                <a:gd name="connsiteY35" fmla="*/ 230775 h 259326"/>
                <a:gd name="connsiteX36" fmla="*/ 2154402 w 2382324"/>
                <a:gd name="connsiteY36" fmla="*/ 217208 h 259326"/>
                <a:gd name="connsiteX37" fmla="*/ 2211382 w 2382324"/>
                <a:gd name="connsiteY37" fmla="*/ 195501 h 259326"/>
                <a:gd name="connsiteX38" fmla="*/ 2276503 w 2382324"/>
                <a:gd name="connsiteY38" fmla="*/ 198214 h 259326"/>
                <a:gd name="connsiteX39" fmla="*/ 2333483 w 2382324"/>
                <a:gd name="connsiteY39" fmla="*/ 160228 h 259326"/>
                <a:gd name="connsiteX40" fmla="*/ 2366044 w 2382324"/>
                <a:gd name="connsiteY40" fmla="*/ 149374 h 259326"/>
                <a:gd name="connsiteX41" fmla="*/ 2382324 w 2382324"/>
                <a:gd name="connsiteY41" fmla="*/ 133094 h 259326"/>
                <a:gd name="connsiteX0" fmla="*/ 0 w 2382324"/>
                <a:gd name="connsiteY0" fmla="*/ 130381 h 259326"/>
                <a:gd name="connsiteX1" fmla="*/ 70547 w 2382324"/>
                <a:gd name="connsiteY1" fmla="*/ 116814 h 259326"/>
                <a:gd name="connsiteX2" fmla="*/ 86827 w 2382324"/>
                <a:gd name="connsiteY2" fmla="*/ 86967 h 259326"/>
                <a:gd name="connsiteX3" fmla="*/ 160088 w 2382324"/>
                <a:gd name="connsiteY3" fmla="*/ 92394 h 259326"/>
                <a:gd name="connsiteX4" fmla="*/ 217068 w 2382324"/>
                <a:gd name="connsiteY4" fmla="*/ 81540 h 259326"/>
                <a:gd name="connsiteX5" fmla="*/ 246915 w 2382324"/>
                <a:gd name="connsiteY5" fmla="*/ 57120 h 259326"/>
                <a:gd name="connsiteX6" fmla="*/ 271335 w 2382324"/>
                <a:gd name="connsiteY6" fmla="*/ 70687 h 259326"/>
                <a:gd name="connsiteX7" fmla="*/ 328315 w 2382324"/>
                <a:gd name="connsiteY7" fmla="*/ 27273 h 259326"/>
                <a:gd name="connsiteX8" fmla="*/ 412429 w 2382324"/>
                <a:gd name="connsiteY8" fmla="*/ 140 h 259326"/>
                <a:gd name="connsiteX9" fmla="*/ 455843 w 2382324"/>
                <a:gd name="connsiteY9" fmla="*/ 16420 h 259326"/>
                <a:gd name="connsiteX10" fmla="*/ 504683 w 2382324"/>
                <a:gd name="connsiteY10" fmla="*/ 10993 h 259326"/>
                <a:gd name="connsiteX11" fmla="*/ 526390 w 2382324"/>
                <a:gd name="connsiteY11" fmla="*/ 13706 h 259326"/>
                <a:gd name="connsiteX12" fmla="*/ 539957 w 2382324"/>
                <a:gd name="connsiteY12" fmla="*/ 13706 h 259326"/>
                <a:gd name="connsiteX13" fmla="*/ 607791 w 2382324"/>
                <a:gd name="connsiteY13" fmla="*/ 73400 h 259326"/>
                <a:gd name="connsiteX14" fmla="*/ 681051 w 2382324"/>
                <a:gd name="connsiteY14" fmla="*/ 122241 h 259326"/>
                <a:gd name="connsiteX15" fmla="*/ 727178 w 2382324"/>
                <a:gd name="connsiteY15" fmla="*/ 143947 h 259326"/>
                <a:gd name="connsiteX16" fmla="*/ 789585 w 2382324"/>
                <a:gd name="connsiteY16" fmla="*/ 135807 h 259326"/>
                <a:gd name="connsiteX17" fmla="*/ 827572 w 2382324"/>
                <a:gd name="connsiteY17" fmla="*/ 157514 h 259326"/>
                <a:gd name="connsiteX18" fmla="*/ 841139 w 2382324"/>
                <a:gd name="connsiteY18" fmla="*/ 152087 h 259326"/>
                <a:gd name="connsiteX19" fmla="*/ 881839 w 2382324"/>
                <a:gd name="connsiteY19" fmla="*/ 176508 h 259326"/>
                <a:gd name="connsiteX20" fmla="*/ 955100 w 2382324"/>
                <a:gd name="connsiteY20" fmla="*/ 162941 h 259326"/>
                <a:gd name="connsiteX21" fmla="*/ 1036501 w 2382324"/>
                <a:gd name="connsiteY21" fmla="*/ 192788 h 259326"/>
                <a:gd name="connsiteX22" fmla="*/ 1107048 w 2382324"/>
                <a:gd name="connsiteY22" fmla="*/ 187361 h 259326"/>
                <a:gd name="connsiteX23" fmla="*/ 1183022 w 2382324"/>
                <a:gd name="connsiteY23" fmla="*/ 206355 h 259326"/>
                <a:gd name="connsiteX24" fmla="*/ 1221009 w 2382324"/>
                <a:gd name="connsiteY24" fmla="*/ 192788 h 259326"/>
                <a:gd name="connsiteX25" fmla="*/ 1286129 w 2382324"/>
                <a:gd name="connsiteY25" fmla="*/ 217208 h 259326"/>
                <a:gd name="connsiteX26" fmla="*/ 1329543 w 2382324"/>
                <a:gd name="connsiteY26" fmla="*/ 211781 h 259326"/>
                <a:gd name="connsiteX27" fmla="*/ 1375670 w 2382324"/>
                <a:gd name="connsiteY27" fmla="*/ 200928 h 259326"/>
                <a:gd name="connsiteX28" fmla="*/ 1451644 w 2382324"/>
                <a:gd name="connsiteY28" fmla="*/ 219921 h 259326"/>
                <a:gd name="connsiteX29" fmla="*/ 1533044 w 2382324"/>
                <a:gd name="connsiteY29" fmla="*/ 217208 h 259326"/>
                <a:gd name="connsiteX30" fmla="*/ 1606305 w 2382324"/>
                <a:gd name="connsiteY30" fmla="*/ 203641 h 259326"/>
                <a:gd name="connsiteX31" fmla="*/ 1693132 w 2382324"/>
                <a:gd name="connsiteY31" fmla="*/ 222635 h 259326"/>
                <a:gd name="connsiteX32" fmla="*/ 1752826 w 2382324"/>
                <a:gd name="connsiteY32" fmla="*/ 214495 h 259326"/>
                <a:gd name="connsiteX33" fmla="*/ 1850507 w 2382324"/>
                <a:gd name="connsiteY33" fmla="*/ 255195 h 259326"/>
                <a:gd name="connsiteX34" fmla="*/ 1959041 w 2382324"/>
                <a:gd name="connsiteY34" fmla="*/ 255195 h 259326"/>
                <a:gd name="connsiteX35" fmla="*/ 2064861 w 2382324"/>
                <a:gd name="connsiteY35" fmla="*/ 230775 h 259326"/>
                <a:gd name="connsiteX36" fmla="*/ 2154402 w 2382324"/>
                <a:gd name="connsiteY36" fmla="*/ 217208 h 259326"/>
                <a:gd name="connsiteX37" fmla="*/ 2211382 w 2382324"/>
                <a:gd name="connsiteY37" fmla="*/ 195501 h 259326"/>
                <a:gd name="connsiteX38" fmla="*/ 2276503 w 2382324"/>
                <a:gd name="connsiteY38" fmla="*/ 198214 h 259326"/>
                <a:gd name="connsiteX39" fmla="*/ 2333483 w 2382324"/>
                <a:gd name="connsiteY39" fmla="*/ 160228 h 259326"/>
                <a:gd name="connsiteX40" fmla="*/ 2366044 w 2382324"/>
                <a:gd name="connsiteY40" fmla="*/ 149374 h 259326"/>
                <a:gd name="connsiteX41" fmla="*/ 2382324 w 2382324"/>
                <a:gd name="connsiteY41" fmla="*/ 133094 h 2593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2382324" h="259326">
                  <a:moveTo>
                    <a:pt x="0" y="130381"/>
                  </a:moveTo>
                  <a:cubicBezTo>
                    <a:pt x="28038" y="127215"/>
                    <a:pt x="56076" y="124050"/>
                    <a:pt x="70547" y="116814"/>
                  </a:cubicBezTo>
                  <a:cubicBezTo>
                    <a:pt x="85018" y="109578"/>
                    <a:pt x="71904" y="91037"/>
                    <a:pt x="86827" y="86967"/>
                  </a:cubicBezTo>
                  <a:cubicBezTo>
                    <a:pt x="101750" y="82897"/>
                    <a:pt x="138381" y="93298"/>
                    <a:pt x="160088" y="92394"/>
                  </a:cubicBezTo>
                  <a:cubicBezTo>
                    <a:pt x="181795" y="91490"/>
                    <a:pt x="202597" y="87419"/>
                    <a:pt x="217068" y="81540"/>
                  </a:cubicBezTo>
                  <a:cubicBezTo>
                    <a:pt x="231539" y="75661"/>
                    <a:pt x="237871" y="58929"/>
                    <a:pt x="246915" y="57120"/>
                  </a:cubicBezTo>
                  <a:cubicBezTo>
                    <a:pt x="255959" y="55311"/>
                    <a:pt x="257768" y="75661"/>
                    <a:pt x="271335" y="70687"/>
                  </a:cubicBezTo>
                  <a:cubicBezTo>
                    <a:pt x="284902" y="65712"/>
                    <a:pt x="304799" y="39031"/>
                    <a:pt x="328315" y="27273"/>
                  </a:cubicBezTo>
                  <a:cubicBezTo>
                    <a:pt x="351831" y="15515"/>
                    <a:pt x="391174" y="1949"/>
                    <a:pt x="412429" y="140"/>
                  </a:cubicBezTo>
                  <a:cubicBezTo>
                    <a:pt x="433684" y="-1669"/>
                    <a:pt x="440467" y="14611"/>
                    <a:pt x="455843" y="16420"/>
                  </a:cubicBezTo>
                  <a:cubicBezTo>
                    <a:pt x="471219" y="18229"/>
                    <a:pt x="492925" y="11445"/>
                    <a:pt x="504683" y="10993"/>
                  </a:cubicBezTo>
                  <a:cubicBezTo>
                    <a:pt x="516441" y="10541"/>
                    <a:pt x="520511" y="13254"/>
                    <a:pt x="526390" y="13706"/>
                  </a:cubicBezTo>
                  <a:cubicBezTo>
                    <a:pt x="532269" y="14158"/>
                    <a:pt x="526390" y="3757"/>
                    <a:pt x="539957" y="13706"/>
                  </a:cubicBezTo>
                  <a:cubicBezTo>
                    <a:pt x="553524" y="23655"/>
                    <a:pt x="584275" y="55311"/>
                    <a:pt x="607791" y="73400"/>
                  </a:cubicBezTo>
                  <a:cubicBezTo>
                    <a:pt x="631307" y="91489"/>
                    <a:pt x="661153" y="110483"/>
                    <a:pt x="681051" y="122241"/>
                  </a:cubicBezTo>
                  <a:cubicBezTo>
                    <a:pt x="700949" y="133999"/>
                    <a:pt x="709089" y="141686"/>
                    <a:pt x="727178" y="143947"/>
                  </a:cubicBezTo>
                  <a:cubicBezTo>
                    <a:pt x="745267" y="146208"/>
                    <a:pt x="772853" y="133546"/>
                    <a:pt x="789585" y="135807"/>
                  </a:cubicBezTo>
                  <a:cubicBezTo>
                    <a:pt x="806317" y="138068"/>
                    <a:pt x="818980" y="154801"/>
                    <a:pt x="827572" y="157514"/>
                  </a:cubicBezTo>
                  <a:cubicBezTo>
                    <a:pt x="836164" y="160227"/>
                    <a:pt x="832095" y="148921"/>
                    <a:pt x="841139" y="152087"/>
                  </a:cubicBezTo>
                  <a:cubicBezTo>
                    <a:pt x="850184" y="155253"/>
                    <a:pt x="862846" y="174699"/>
                    <a:pt x="881839" y="176508"/>
                  </a:cubicBezTo>
                  <a:cubicBezTo>
                    <a:pt x="900832" y="178317"/>
                    <a:pt x="929323" y="160228"/>
                    <a:pt x="955100" y="162941"/>
                  </a:cubicBezTo>
                  <a:cubicBezTo>
                    <a:pt x="980877" y="165654"/>
                    <a:pt x="1011176" y="188718"/>
                    <a:pt x="1036501" y="192788"/>
                  </a:cubicBezTo>
                  <a:cubicBezTo>
                    <a:pt x="1061826" y="196858"/>
                    <a:pt x="1082628" y="185100"/>
                    <a:pt x="1107048" y="187361"/>
                  </a:cubicBezTo>
                  <a:cubicBezTo>
                    <a:pt x="1131468" y="189622"/>
                    <a:pt x="1164029" y="205451"/>
                    <a:pt x="1183022" y="206355"/>
                  </a:cubicBezTo>
                  <a:cubicBezTo>
                    <a:pt x="1202015" y="207259"/>
                    <a:pt x="1203825" y="190979"/>
                    <a:pt x="1221009" y="192788"/>
                  </a:cubicBezTo>
                  <a:cubicBezTo>
                    <a:pt x="1238193" y="194597"/>
                    <a:pt x="1268040" y="214042"/>
                    <a:pt x="1286129" y="217208"/>
                  </a:cubicBezTo>
                  <a:cubicBezTo>
                    <a:pt x="1304218" y="220374"/>
                    <a:pt x="1314620" y="214494"/>
                    <a:pt x="1329543" y="211781"/>
                  </a:cubicBezTo>
                  <a:cubicBezTo>
                    <a:pt x="1344467" y="209068"/>
                    <a:pt x="1355320" y="199571"/>
                    <a:pt x="1375670" y="200928"/>
                  </a:cubicBezTo>
                  <a:cubicBezTo>
                    <a:pt x="1396020" y="202285"/>
                    <a:pt x="1425415" y="217208"/>
                    <a:pt x="1451644" y="219921"/>
                  </a:cubicBezTo>
                  <a:cubicBezTo>
                    <a:pt x="1477873" y="222634"/>
                    <a:pt x="1507267" y="219921"/>
                    <a:pt x="1533044" y="217208"/>
                  </a:cubicBezTo>
                  <a:cubicBezTo>
                    <a:pt x="1558821" y="214495"/>
                    <a:pt x="1579624" y="202737"/>
                    <a:pt x="1606305" y="203641"/>
                  </a:cubicBezTo>
                  <a:cubicBezTo>
                    <a:pt x="1632986" y="204546"/>
                    <a:pt x="1668712" y="220826"/>
                    <a:pt x="1693132" y="222635"/>
                  </a:cubicBezTo>
                  <a:cubicBezTo>
                    <a:pt x="1717552" y="224444"/>
                    <a:pt x="1726597" y="209068"/>
                    <a:pt x="1752826" y="214495"/>
                  </a:cubicBezTo>
                  <a:cubicBezTo>
                    <a:pt x="1779055" y="219922"/>
                    <a:pt x="1816138" y="248412"/>
                    <a:pt x="1850507" y="255195"/>
                  </a:cubicBezTo>
                  <a:cubicBezTo>
                    <a:pt x="1884876" y="261978"/>
                    <a:pt x="1923315" y="259265"/>
                    <a:pt x="1959041" y="255195"/>
                  </a:cubicBezTo>
                  <a:cubicBezTo>
                    <a:pt x="1994767" y="251125"/>
                    <a:pt x="2032301" y="237106"/>
                    <a:pt x="2064861" y="230775"/>
                  </a:cubicBezTo>
                  <a:cubicBezTo>
                    <a:pt x="2097421" y="224444"/>
                    <a:pt x="2129982" y="223087"/>
                    <a:pt x="2154402" y="217208"/>
                  </a:cubicBezTo>
                  <a:cubicBezTo>
                    <a:pt x="2178822" y="211329"/>
                    <a:pt x="2191032" y="198667"/>
                    <a:pt x="2211382" y="195501"/>
                  </a:cubicBezTo>
                  <a:cubicBezTo>
                    <a:pt x="2231732" y="192335"/>
                    <a:pt x="2256153" y="204093"/>
                    <a:pt x="2276503" y="198214"/>
                  </a:cubicBezTo>
                  <a:cubicBezTo>
                    <a:pt x="2296853" y="192335"/>
                    <a:pt x="2318560" y="168368"/>
                    <a:pt x="2333483" y="160228"/>
                  </a:cubicBezTo>
                  <a:cubicBezTo>
                    <a:pt x="2348407" y="152088"/>
                    <a:pt x="2357904" y="153896"/>
                    <a:pt x="2366044" y="149374"/>
                  </a:cubicBezTo>
                  <a:cubicBezTo>
                    <a:pt x="2374184" y="144852"/>
                    <a:pt x="2378254" y="138973"/>
                    <a:pt x="2382324" y="133094"/>
                  </a:cubicBezTo>
                </a:path>
              </a:pathLst>
            </a:custGeom>
            <a:noFill/>
            <a:ln w="38100">
              <a:solidFill>
                <a:srgbClr val="00B05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400"/>
            </a:p>
          </p:txBody>
        </p:sp>
        <p:sp>
          <p:nvSpPr>
            <p:cNvPr id="82" name="Полилиния 81"/>
            <p:cNvSpPr/>
            <p:nvPr/>
          </p:nvSpPr>
          <p:spPr>
            <a:xfrm>
              <a:off x="2244430" y="4425718"/>
              <a:ext cx="600207" cy="362891"/>
            </a:xfrm>
            <a:custGeom>
              <a:avLst/>
              <a:gdLst>
                <a:gd name="connsiteX0" fmla="*/ 544497 w 544497"/>
                <a:gd name="connsiteY0" fmla="*/ 6652 h 329208"/>
                <a:gd name="connsiteX1" fmla="*/ 437965 w 544497"/>
                <a:gd name="connsiteY1" fmla="*/ 734 h 329208"/>
                <a:gd name="connsiteX2" fmla="*/ 390617 w 544497"/>
                <a:gd name="connsiteY2" fmla="*/ 21449 h 329208"/>
                <a:gd name="connsiteX3" fmla="*/ 355106 w 544497"/>
                <a:gd name="connsiteY3" fmla="*/ 24408 h 329208"/>
                <a:gd name="connsiteX4" fmla="*/ 304800 w 544497"/>
                <a:gd name="connsiteY4" fmla="*/ 33285 h 329208"/>
                <a:gd name="connsiteX5" fmla="*/ 275207 w 544497"/>
                <a:gd name="connsiteY5" fmla="*/ 42163 h 329208"/>
                <a:gd name="connsiteX6" fmla="*/ 242656 w 544497"/>
                <a:gd name="connsiteY6" fmla="*/ 89511 h 329208"/>
                <a:gd name="connsiteX7" fmla="*/ 192349 w 544497"/>
                <a:gd name="connsiteY7" fmla="*/ 119103 h 329208"/>
                <a:gd name="connsiteX8" fmla="*/ 162757 w 544497"/>
                <a:gd name="connsiteY8" fmla="*/ 154614 h 329208"/>
                <a:gd name="connsiteX9" fmla="*/ 127246 w 544497"/>
                <a:gd name="connsiteY9" fmla="*/ 172369 h 329208"/>
                <a:gd name="connsiteX10" fmla="*/ 118369 w 544497"/>
                <a:gd name="connsiteY10" fmla="*/ 228594 h 329208"/>
                <a:gd name="connsiteX11" fmla="*/ 103572 w 544497"/>
                <a:gd name="connsiteY11" fmla="*/ 270023 h 329208"/>
                <a:gd name="connsiteX12" fmla="*/ 32551 w 544497"/>
                <a:gd name="connsiteY12" fmla="*/ 305534 h 329208"/>
                <a:gd name="connsiteX13" fmla="*/ 0 w 544497"/>
                <a:gd name="connsiteY13" fmla="*/ 329208 h 3292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544497" h="329208">
                  <a:moveTo>
                    <a:pt x="544497" y="6652"/>
                  </a:moveTo>
                  <a:cubicBezTo>
                    <a:pt x="504054" y="2460"/>
                    <a:pt x="463612" y="-1732"/>
                    <a:pt x="437965" y="734"/>
                  </a:cubicBezTo>
                  <a:cubicBezTo>
                    <a:pt x="412318" y="3200"/>
                    <a:pt x="404427" y="17503"/>
                    <a:pt x="390617" y="21449"/>
                  </a:cubicBezTo>
                  <a:cubicBezTo>
                    <a:pt x="376807" y="25395"/>
                    <a:pt x="369409" y="22435"/>
                    <a:pt x="355106" y="24408"/>
                  </a:cubicBezTo>
                  <a:cubicBezTo>
                    <a:pt x="340803" y="26381"/>
                    <a:pt x="318116" y="30326"/>
                    <a:pt x="304800" y="33285"/>
                  </a:cubicBezTo>
                  <a:cubicBezTo>
                    <a:pt x="291484" y="36244"/>
                    <a:pt x="285564" y="32792"/>
                    <a:pt x="275207" y="42163"/>
                  </a:cubicBezTo>
                  <a:cubicBezTo>
                    <a:pt x="264850" y="51534"/>
                    <a:pt x="256466" y="76688"/>
                    <a:pt x="242656" y="89511"/>
                  </a:cubicBezTo>
                  <a:cubicBezTo>
                    <a:pt x="228846" y="102334"/>
                    <a:pt x="205665" y="108253"/>
                    <a:pt x="192349" y="119103"/>
                  </a:cubicBezTo>
                  <a:cubicBezTo>
                    <a:pt x="179033" y="129953"/>
                    <a:pt x="173607" y="145736"/>
                    <a:pt x="162757" y="154614"/>
                  </a:cubicBezTo>
                  <a:cubicBezTo>
                    <a:pt x="151906" y="163492"/>
                    <a:pt x="134644" y="160039"/>
                    <a:pt x="127246" y="172369"/>
                  </a:cubicBezTo>
                  <a:cubicBezTo>
                    <a:pt x="119848" y="184699"/>
                    <a:pt x="122315" y="212318"/>
                    <a:pt x="118369" y="228594"/>
                  </a:cubicBezTo>
                  <a:cubicBezTo>
                    <a:pt x="114423" y="244870"/>
                    <a:pt x="117875" y="257200"/>
                    <a:pt x="103572" y="270023"/>
                  </a:cubicBezTo>
                  <a:cubicBezTo>
                    <a:pt x="89269" y="282846"/>
                    <a:pt x="49813" y="295670"/>
                    <a:pt x="32551" y="305534"/>
                  </a:cubicBezTo>
                  <a:cubicBezTo>
                    <a:pt x="15289" y="315398"/>
                    <a:pt x="7644" y="322303"/>
                    <a:pt x="0" y="329208"/>
                  </a:cubicBezTo>
                </a:path>
              </a:pathLst>
            </a:custGeom>
            <a:noFill/>
            <a:ln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400"/>
            </a:p>
          </p:txBody>
        </p:sp>
        <p:sp>
          <p:nvSpPr>
            <p:cNvPr id="83" name="Полилиния 82"/>
            <p:cNvSpPr/>
            <p:nvPr/>
          </p:nvSpPr>
          <p:spPr>
            <a:xfrm>
              <a:off x="2175927" y="2906438"/>
              <a:ext cx="241387" cy="81550"/>
            </a:xfrm>
            <a:custGeom>
              <a:avLst/>
              <a:gdLst>
                <a:gd name="connsiteX0" fmla="*/ 218982 w 218982"/>
                <a:gd name="connsiteY0" fmla="*/ 0 h 73981"/>
                <a:gd name="connsiteX1" fmla="*/ 186431 w 218982"/>
                <a:gd name="connsiteY1" fmla="*/ 38470 h 73981"/>
                <a:gd name="connsiteX2" fmla="*/ 85817 w 218982"/>
                <a:gd name="connsiteY2" fmla="*/ 50307 h 73981"/>
                <a:gd name="connsiteX3" fmla="*/ 0 w 218982"/>
                <a:gd name="connsiteY3" fmla="*/ 73981 h 739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18982" h="73981">
                  <a:moveTo>
                    <a:pt x="218982" y="0"/>
                  </a:moveTo>
                  <a:cubicBezTo>
                    <a:pt x="213803" y="15043"/>
                    <a:pt x="208625" y="30086"/>
                    <a:pt x="186431" y="38470"/>
                  </a:cubicBezTo>
                  <a:cubicBezTo>
                    <a:pt x="164237" y="46854"/>
                    <a:pt x="116889" y="44388"/>
                    <a:pt x="85817" y="50307"/>
                  </a:cubicBezTo>
                  <a:cubicBezTo>
                    <a:pt x="54745" y="56226"/>
                    <a:pt x="27372" y="65103"/>
                    <a:pt x="0" y="73981"/>
                  </a:cubicBezTo>
                </a:path>
              </a:pathLst>
            </a:custGeom>
            <a:noFill/>
            <a:ln w="25400">
              <a:solidFill>
                <a:srgbClr val="00B05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400"/>
            </a:p>
          </p:txBody>
        </p:sp>
        <p:sp>
          <p:nvSpPr>
            <p:cNvPr id="84" name="Полилиния 83"/>
            <p:cNvSpPr/>
            <p:nvPr/>
          </p:nvSpPr>
          <p:spPr>
            <a:xfrm>
              <a:off x="1024442" y="2987989"/>
              <a:ext cx="1151485" cy="313151"/>
            </a:xfrm>
            <a:custGeom>
              <a:avLst/>
              <a:gdLst>
                <a:gd name="connsiteX0" fmla="*/ 1044606 w 1044606"/>
                <a:gd name="connsiteY0" fmla="*/ 0 h 284085"/>
                <a:gd name="connsiteX1" fmla="*/ 994299 w 1044606"/>
                <a:gd name="connsiteY1" fmla="*/ 17755 h 284085"/>
                <a:gd name="connsiteX2" fmla="*/ 793072 w 1044606"/>
                <a:gd name="connsiteY2" fmla="*/ 2959 h 284085"/>
                <a:gd name="connsiteX3" fmla="*/ 748684 w 1044606"/>
                <a:gd name="connsiteY3" fmla="*/ 32551 h 284085"/>
                <a:gd name="connsiteX4" fmla="*/ 665825 w 1044606"/>
                <a:gd name="connsiteY4" fmla="*/ 82858 h 284085"/>
                <a:gd name="connsiteX5" fmla="*/ 600722 w 1044606"/>
                <a:gd name="connsiteY5" fmla="*/ 112450 h 284085"/>
                <a:gd name="connsiteX6" fmla="*/ 508987 w 1044606"/>
                <a:gd name="connsiteY6" fmla="*/ 118368 h 284085"/>
                <a:gd name="connsiteX7" fmla="*/ 375821 w 1044606"/>
                <a:gd name="connsiteY7" fmla="*/ 145001 h 284085"/>
                <a:gd name="connsiteX8" fmla="*/ 263371 w 1044606"/>
                <a:gd name="connsiteY8" fmla="*/ 168675 h 284085"/>
                <a:gd name="connsiteX9" fmla="*/ 218983 w 1044606"/>
                <a:gd name="connsiteY9" fmla="*/ 201227 h 284085"/>
                <a:gd name="connsiteX10" fmla="*/ 174594 w 1044606"/>
                <a:gd name="connsiteY10" fmla="*/ 218982 h 284085"/>
                <a:gd name="connsiteX11" fmla="*/ 112451 w 1044606"/>
                <a:gd name="connsiteY11" fmla="*/ 242656 h 284085"/>
                <a:gd name="connsiteX12" fmla="*/ 79899 w 1044606"/>
                <a:gd name="connsiteY12" fmla="*/ 269289 h 284085"/>
                <a:gd name="connsiteX13" fmla="*/ 0 w 1044606"/>
                <a:gd name="connsiteY13" fmla="*/ 284085 h 2840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044606" h="284085">
                  <a:moveTo>
                    <a:pt x="1044606" y="0"/>
                  </a:moveTo>
                  <a:cubicBezTo>
                    <a:pt x="1040413" y="8631"/>
                    <a:pt x="1036221" y="17262"/>
                    <a:pt x="994299" y="17755"/>
                  </a:cubicBezTo>
                  <a:cubicBezTo>
                    <a:pt x="952377" y="18248"/>
                    <a:pt x="834008" y="493"/>
                    <a:pt x="793072" y="2959"/>
                  </a:cubicBezTo>
                  <a:cubicBezTo>
                    <a:pt x="752136" y="5425"/>
                    <a:pt x="769892" y="19234"/>
                    <a:pt x="748684" y="32551"/>
                  </a:cubicBezTo>
                  <a:cubicBezTo>
                    <a:pt x="727476" y="45868"/>
                    <a:pt x="690485" y="69542"/>
                    <a:pt x="665825" y="82858"/>
                  </a:cubicBezTo>
                  <a:cubicBezTo>
                    <a:pt x="641165" y="96174"/>
                    <a:pt x="626862" y="106532"/>
                    <a:pt x="600722" y="112450"/>
                  </a:cubicBezTo>
                  <a:cubicBezTo>
                    <a:pt x="574582" y="118368"/>
                    <a:pt x="546470" y="112943"/>
                    <a:pt x="508987" y="118368"/>
                  </a:cubicBezTo>
                  <a:cubicBezTo>
                    <a:pt x="471504" y="123793"/>
                    <a:pt x="375821" y="145001"/>
                    <a:pt x="375821" y="145001"/>
                  </a:cubicBezTo>
                  <a:cubicBezTo>
                    <a:pt x="334885" y="153386"/>
                    <a:pt x="289511" y="159304"/>
                    <a:pt x="263371" y="168675"/>
                  </a:cubicBezTo>
                  <a:cubicBezTo>
                    <a:pt x="237231" y="178046"/>
                    <a:pt x="233779" y="192843"/>
                    <a:pt x="218983" y="201227"/>
                  </a:cubicBezTo>
                  <a:cubicBezTo>
                    <a:pt x="204187" y="209612"/>
                    <a:pt x="174594" y="218982"/>
                    <a:pt x="174594" y="218982"/>
                  </a:cubicBezTo>
                  <a:cubicBezTo>
                    <a:pt x="156839" y="225887"/>
                    <a:pt x="128233" y="234272"/>
                    <a:pt x="112451" y="242656"/>
                  </a:cubicBezTo>
                  <a:cubicBezTo>
                    <a:pt x="96669" y="251040"/>
                    <a:pt x="98641" y="262384"/>
                    <a:pt x="79899" y="269289"/>
                  </a:cubicBezTo>
                  <a:cubicBezTo>
                    <a:pt x="61157" y="276194"/>
                    <a:pt x="30578" y="280139"/>
                    <a:pt x="0" y="284085"/>
                  </a:cubicBezTo>
                </a:path>
              </a:pathLst>
            </a:custGeom>
            <a:noFill/>
            <a:ln w="25400">
              <a:solidFill>
                <a:srgbClr val="00B0F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400"/>
            </a:p>
          </p:txBody>
        </p:sp>
        <p:sp>
          <p:nvSpPr>
            <p:cNvPr id="85" name="Полилиния 84"/>
            <p:cNvSpPr/>
            <p:nvPr/>
          </p:nvSpPr>
          <p:spPr>
            <a:xfrm>
              <a:off x="2952283" y="2107064"/>
              <a:ext cx="327644" cy="626488"/>
            </a:xfrm>
            <a:custGeom>
              <a:avLst/>
              <a:gdLst>
                <a:gd name="connsiteX0" fmla="*/ 127247 w 297233"/>
                <a:gd name="connsiteY0" fmla="*/ 568339 h 568339"/>
                <a:gd name="connsiteX1" fmla="*/ 139084 w 297233"/>
                <a:gd name="connsiteY1" fmla="*/ 509155 h 568339"/>
                <a:gd name="connsiteX2" fmla="*/ 136124 w 297233"/>
                <a:gd name="connsiteY2" fmla="*/ 464766 h 568339"/>
                <a:gd name="connsiteX3" fmla="*/ 153880 w 297233"/>
                <a:gd name="connsiteY3" fmla="*/ 435174 h 568339"/>
                <a:gd name="connsiteX4" fmla="*/ 159798 w 297233"/>
                <a:gd name="connsiteY4" fmla="*/ 387827 h 568339"/>
                <a:gd name="connsiteX5" fmla="*/ 221942 w 297233"/>
                <a:gd name="connsiteY5" fmla="*/ 334560 h 568339"/>
                <a:gd name="connsiteX6" fmla="*/ 236738 w 297233"/>
                <a:gd name="connsiteY6" fmla="*/ 278335 h 568339"/>
                <a:gd name="connsiteX7" fmla="*/ 236738 w 297233"/>
                <a:gd name="connsiteY7" fmla="*/ 233947 h 568339"/>
                <a:gd name="connsiteX8" fmla="*/ 281126 w 297233"/>
                <a:gd name="connsiteY8" fmla="*/ 157007 h 568339"/>
                <a:gd name="connsiteX9" fmla="*/ 295922 w 297233"/>
                <a:gd name="connsiteY9" fmla="*/ 121496 h 568339"/>
                <a:gd name="connsiteX10" fmla="*/ 251534 w 297233"/>
                <a:gd name="connsiteY10" fmla="*/ 83027 h 568339"/>
                <a:gd name="connsiteX11" fmla="*/ 230820 w 297233"/>
                <a:gd name="connsiteY11" fmla="*/ 20883 h 568339"/>
                <a:gd name="connsiteX12" fmla="*/ 207146 w 297233"/>
                <a:gd name="connsiteY12" fmla="*/ 168 h 568339"/>
                <a:gd name="connsiteX13" fmla="*/ 153880 w 297233"/>
                <a:gd name="connsiteY13" fmla="*/ 29760 h 568339"/>
                <a:gd name="connsiteX14" fmla="*/ 127247 w 297233"/>
                <a:gd name="connsiteY14" fmla="*/ 29760 h 568339"/>
                <a:gd name="connsiteX15" fmla="*/ 76940 w 297233"/>
                <a:gd name="connsiteY15" fmla="*/ 62312 h 568339"/>
                <a:gd name="connsiteX16" fmla="*/ 26633 w 297233"/>
                <a:gd name="connsiteY16" fmla="*/ 62312 h 568339"/>
                <a:gd name="connsiteX17" fmla="*/ 0 w 297233"/>
                <a:gd name="connsiteY17" fmla="*/ 53434 h 5683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297233" h="568339">
                  <a:moveTo>
                    <a:pt x="127247" y="568339"/>
                  </a:moveTo>
                  <a:cubicBezTo>
                    <a:pt x="132426" y="547378"/>
                    <a:pt x="137605" y="526417"/>
                    <a:pt x="139084" y="509155"/>
                  </a:cubicBezTo>
                  <a:cubicBezTo>
                    <a:pt x="140563" y="491893"/>
                    <a:pt x="133658" y="477096"/>
                    <a:pt x="136124" y="464766"/>
                  </a:cubicBezTo>
                  <a:cubicBezTo>
                    <a:pt x="138590" y="452436"/>
                    <a:pt x="149934" y="447997"/>
                    <a:pt x="153880" y="435174"/>
                  </a:cubicBezTo>
                  <a:cubicBezTo>
                    <a:pt x="157826" y="422351"/>
                    <a:pt x="148454" y="404596"/>
                    <a:pt x="159798" y="387827"/>
                  </a:cubicBezTo>
                  <a:cubicBezTo>
                    <a:pt x="171142" y="371058"/>
                    <a:pt x="209119" y="352809"/>
                    <a:pt x="221942" y="334560"/>
                  </a:cubicBezTo>
                  <a:cubicBezTo>
                    <a:pt x="234765" y="316311"/>
                    <a:pt x="234272" y="295104"/>
                    <a:pt x="236738" y="278335"/>
                  </a:cubicBezTo>
                  <a:cubicBezTo>
                    <a:pt x="239204" y="261566"/>
                    <a:pt x="229340" y="254168"/>
                    <a:pt x="236738" y="233947"/>
                  </a:cubicBezTo>
                  <a:cubicBezTo>
                    <a:pt x="244136" y="213726"/>
                    <a:pt x="271262" y="175749"/>
                    <a:pt x="281126" y="157007"/>
                  </a:cubicBezTo>
                  <a:cubicBezTo>
                    <a:pt x="290990" y="138265"/>
                    <a:pt x="300854" y="133826"/>
                    <a:pt x="295922" y="121496"/>
                  </a:cubicBezTo>
                  <a:cubicBezTo>
                    <a:pt x="290990" y="109166"/>
                    <a:pt x="262384" y="99796"/>
                    <a:pt x="251534" y="83027"/>
                  </a:cubicBezTo>
                  <a:cubicBezTo>
                    <a:pt x="240684" y="66258"/>
                    <a:pt x="238218" y="34693"/>
                    <a:pt x="230820" y="20883"/>
                  </a:cubicBezTo>
                  <a:cubicBezTo>
                    <a:pt x="223422" y="7073"/>
                    <a:pt x="219969" y="-1311"/>
                    <a:pt x="207146" y="168"/>
                  </a:cubicBezTo>
                  <a:cubicBezTo>
                    <a:pt x="194323" y="1647"/>
                    <a:pt x="167197" y="24828"/>
                    <a:pt x="153880" y="29760"/>
                  </a:cubicBezTo>
                  <a:cubicBezTo>
                    <a:pt x="140563" y="34692"/>
                    <a:pt x="140070" y="24335"/>
                    <a:pt x="127247" y="29760"/>
                  </a:cubicBezTo>
                  <a:cubicBezTo>
                    <a:pt x="114424" y="35185"/>
                    <a:pt x="93709" y="56887"/>
                    <a:pt x="76940" y="62312"/>
                  </a:cubicBezTo>
                  <a:cubicBezTo>
                    <a:pt x="60171" y="67737"/>
                    <a:pt x="39456" y="63792"/>
                    <a:pt x="26633" y="62312"/>
                  </a:cubicBezTo>
                  <a:cubicBezTo>
                    <a:pt x="13810" y="60832"/>
                    <a:pt x="6905" y="57133"/>
                    <a:pt x="0" y="53434"/>
                  </a:cubicBezTo>
                </a:path>
              </a:pathLst>
            </a:custGeom>
            <a:noFill/>
            <a:ln w="50800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400"/>
            </a:p>
          </p:txBody>
        </p:sp>
        <p:sp>
          <p:nvSpPr>
            <p:cNvPr id="86" name="Полилиния 85"/>
            <p:cNvSpPr/>
            <p:nvPr/>
          </p:nvSpPr>
          <p:spPr>
            <a:xfrm>
              <a:off x="2113951" y="2162789"/>
              <a:ext cx="855288" cy="265901"/>
            </a:xfrm>
            <a:custGeom>
              <a:avLst/>
              <a:gdLst>
                <a:gd name="connsiteX0" fmla="*/ 0 w 757561"/>
                <a:gd name="connsiteY0" fmla="*/ 233058 h 233058"/>
                <a:gd name="connsiteX1" fmla="*/ 322555 w 757561"/>
                <a:gd name="connsiteY1" fmla="*/ 82138 h 233058"/>
                <a:gd name="connsiteX2" fmla="*/ 559293 w 757561"/>
                <a:gd name="connsiteY2" fmla="*/ 8157 h 233058"/>
                <a:gd name="connsiteX3" fmla="*/ 757561 w 757561"/>
                <a:gd name="connsiteY3" fmla="*/ 5198 h 233058"/>
                <a:gd name="connsiteX0" fmla="*/ 0 w 757561"/>
                <a:gd name="connsiteY0" fmla="*/ 243538 h 243538"/>
                <a:gd name="connsiteX1" fmla="*/ 322555 w 757561"/>
                <a:gd name="connsiteY1" fmla="*/ 82138 h 243538"/>
                <a:gd name="connsiteX2" fmla="*/ 559293 w 757561"/>
                <a:gd name="connsiteY2" fmla="*/ 8157 h 243538"/>
                <a:gd name="connsiteX3" fmla="*/ 757561 w 757561"/>
                <a:gd name="connsiteY3" fmla="*/ 5198 h 243538"/>
                <a:gd name="connsiteX0" fmla="*/ 0 w 775902"/>
                <a:gd name="connsiteY0" fmla="*/ 241221 h 241221"/>
                <a:gd name="connsiteX1" fmla="*/ 322555 w 775902"/>
                <a:gd name="connsiteY1" fmla="*/ 79821 h 241221"/>
                <a:gd name="connsiteX2" fmla="*/ 559293 w 775902"/>
                <a:gd name="connsiteY2" fmla="*/ 5840 h 241221"/>
                <a:gd name="connsiteX3" fmla="*/ 775902 w 775902"/>
                <a:gd name="connsiteY3" fmla="*/ 8121 h 2412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75902" h="241221">
                  <a:moveTo>
                    <a:pt x="0" y="241221"/>
                  </a:moveTo>
                  <a:cubicBezTo>
                    <a:pt x="114669" y="184503"/>
                    <a:pt x="229340" y="119051"/>
                    <a:pt x="322555" y="79821"/>
                  </a:cubicBezTo>
                  <a:cubicBezTo>
                    <a:pt x="415770" y="40591"/>
                    <a:pt x="483735" y="17790"/>
                    <a:pt x="559293" y="5840"/>
                  </a:cubicBezTo>
                  <a:cubicBezTo>
                    <a:pt x="634851" y="-6110"/>
                    <a:pt x="713018" y="3189"/>
                    <a:pt x="775902" y="8121"/>
                  </a:cubicBezTo>
                </a:path>
              </a:pathLst>
            </a:custGeom>
            <a:noFill/>
            <a:ln w="50800">
              <a:solidFill>
                <a:srgbClr val="00B0F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400"/>
            </a:p>
          </p:txBody>
        </p:sp>
        <p:sp>
          <p:nvSpPr>
            <p:cNvPr id="88" name="Полилиния 87"/>
            <p:cNvSpPr/>
            <p:nvPr/>
          </p:nvSpPr>
          <p:spPr>
            <a:xfrm>
              <a:off x="2988165" y="4886470"/>
              <a:ext cx="143553" cy="985122"/>
            </a:xfrm>
            <a:custGeom>
              <a:avLst/>
              <a:gdLst>
                <a:gd name="connsiteX0" fmla="*/ 35510 w 130229"/>
                <a:gd name="connsiteY0" fmla="*/ 0 h 893685"/>
                <a:gd name="connsiteX1" fmla="*/ 91735 w 130229"/>
                <a:gd name="connsiteY1" fmla="*/ 53266 h 893685"/>
                <a:gd name="connsiteX2" fmla="*/ 112450 w 130229"/>
                <a:gd name="connsiteY2" fmla="*/ 124287 h 893685"/>
                <a:gd name="connsiteX3" fmla="*/ 121328 w 130229"/>
                <a:gd name="connsiteY3" fmla="*/ 242656 h 893685"/>
                <a:gd name="connsiteX4" fmla="*/ 115409 w 130229"/>
                <a:gd name="connsiteY4" fmla="*/ 281126 h 893685"/>
                <a:gd name="connsiteX5" fmla="*/ 130205 w 130229"/>
                <a:gd name="connsiteY5" fmla="*/ 325514 h 893685"/>
                <a:gd name="connsiteX6" fmla="*/ 118368 w 130229"/>
                <a:gd name="connsiteY6" fmla="*/ 384699 h 893685"/>
                <a:gd name="connsiteX7" fmla="*/ 97654 w 130229"/>
                <a:gd name="connsiteY7" fmla="*/ 423168 h 893685"/>
                <a:gd name="connsiteX8" fmla="*/ 73980 w 130229"/>
                <a:gd name="connsiteY8" fmla="*/ 508986 h 893685"/>
                <a:gd name="connsiteX9" fmla="*/ 76939 w 130229"/>
                <a:gd name="connsiteY9" fmla="*/ 630314 h 893685"/>
                <a:gd name="connsiteX10" fmla="*/ 59184 w 130229"/>
                <a:gd name="connsiteY10" fmla="*/ 665825 h 893685"/>
                <a:gd name="connsiteX11" fmla="*/ 47347 w 130229"/>
                <a:gd name="connsiteY11" fmla="*/ 745724 h 893685"/>
                <a:gd name="connsiteX12" fmla="*/ 11836 w 130229"/>
                <a:gd name="connsiteY12" fmla="*/ 816745 h 893685"/>
                <a:gd name="connsiteX13" fmla="*/ 2959 w 130229"/>
                <a:gd name="connsiteY13" fmla="*/ 858174 h 893685"/>
                <a:gd name="connsiteX14" fmla="*/ 0 w 130229"/>
                <a:gd name="connsiteY14" fmla="*/ 893685 h 8936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30229" h="893685">
                  <a:moveTo>
                    <a:pt x="35510" y="0"/>
                  </a:moveTo>
                  <a:cubicBezTo>
                    <a:pt x="57211" y="16276"/>
                    <a:pt x="78912" y="32552"/>
                    <a:pt x="91735" y="53266"/>
                  </a:cubicBezTo>
                  <a:cubicBezTo>
                    <a:pt x="104558" y="73980"/>
                    <a:pt x="107518" y="92722"/>
                    <a:pt x="112450" y="124287"/>
                  </a:cubicBezTo>
                  <a:cubicBezTo>
                    <a:pt x="117382" y="155852"/>
                    <a:pt x="120835" y="216516"/>
                    <a:pt x="121328" y="242656"/>
                  </a:cubicBezTo>
                  <a:cubicBezTo>
                    <a:pt x="121821" y="268796"/>
                    <a:pt x="113929" y="267316"/>
                    <a:pt x="115409" y="281126"/>
                  </a:cubicBezTo>
                  <a:cubicBezTo>
                    <a:pt x="116889" y="294936"/>
                    <a:pt x="129712" y="308252"/>
                    <a:pt x="130205" y="325514"/>
                  </a:cubicBezTo>
                  <a:cubicBezTo>
                    <a:pt x="130698" y="342776"/>
                    <a:pt x="123793" y="368423"/>
                    <a:pt x="118368" y="384699"/>
                  </a:cubicBezTo>
                  <a:cubicBezTo>
                    <a:pt x="112943" y="400975"/>
                    <a:pt x="105052" y="402454"/>
                    <a:pt x="97654" y="423168"/>
                  </a:cubicBezTo>
                  <a:cubicBezTo>
                    <a:pt x="90256" y="443883"/>
                    <a:pt x="77432" y="474462"/>
                    <a:pt x="73980" y="508986"/>
                  </a:cubicBezTo>
                  <a:cubicBezTo>
                    <a:pt x="70528" y="543510"/>
                    <a:pt x="79405" y="604174"/>
                    <a:pt x="76939" y="630314"/>
                  </a:cubicBezTo>
                  <a:cubicBezTo>
                    <a:pt x="74473" y="656454"/>
                    <a:pt x="64116" y="646590"/>
                    <a:pt x="59184" y="665825"/>
                  </a:cubicBezTo>
                  <a:cubicBezTo>
                    <a:pt x="54252" y="685060"/>
                    <a:pt x="55238" y="720571"/>
                    <a:pt x="47347" y="745724"/>
                  </a:cubicBezTo>
                  <a:cubicBezTo>
                    <a:pt x="39456" y="770877"/>
                    <a:pt x="19234" y="798003"/>
                    <a:pt x="11836" y="816745"/>
                  </a:cubicBezTo>
                  <a:cubicBezTo>
                    <a:pt x="4438" y="835487"/>
                    <a:pt x="4932" y="845351"/>
                    <a:pt x="2959" y="858174"/>
                  </a:cubicBezTo>
                  <a:cubicBezTo>
                    <a:pt x="986" y="870997"/>
                    <a:pt x="0" y="886287"/>
                    <a:pt x="0" y="893685"/>
                  </a:cubicBezTo>
                </a:path>
              </a:pathLst>
            </a:custGeom>
            <a:noFill/>
            <a:ln w="25400">
              <a:solidFill>
                <a:srgbClr val="00B05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400" dirty="0"/>
            </a:p>
          </p:txBody>
        </p:sp>
        <p:sp>
          <p:nvSpPr>
            <p:cNvPr id="89" name="Полилиния 88"/>
            <p:cNvSpPr/>
            <p:nvPr/>
          </p:nvSpPr>
          <p:spPr>
            <a:xfrm>
              <a:off x="2939234" y="5870098"/>
              <a:ext cx="51444" cy="122188"/>
            </a:xfrm>
            <a:custGeom>
              <a:avLst/>
              <a:gdLst>
                <a:gd name="connsiteX0" fmla="*/ 41429 w 41429"/>
                <a:gd name="connsiteY0" fmla="*/ 0 h 121328"/>
                <a:gd name="connsiteX1" fmla="*/ 23674 w 41429"/>
                <a:gd name="connsiteY1" fmla="*/ 59185 h 121328"/>
                <a:gd name="connsiteX2" fmla="*/ 32552 w 41429"/>
                <a:gd name="connsiteY2" fmla="*/ 106532 h 121328"/>
                <a:gd name="connsiteX3" fmla="*/ 0 w 41429"/>
                <a:gd name="connsiteY3" fmla="*/ 121328 h 121328"/>
                <a:gd name="connsiteX0" fmla="*/ 41429 w 41429"/>
                <a:gd name="connsiteY0" fmla="*/ 0 h 121328"/>
                <a:gd name="connsiteX1" fmla="*/ 23674 w 41429"/>
                <a:gd name="connsiteY1" fmla="*/ 59185 h 121328"/>
                <a:gd name="connsiteX2" fmla="*/ 27312 w 41429"/>
                <a:gd name="connsiteY2" fmla="*/ 98671 h 121328"/>
                <a:gd name="connsiteX3" fmla="*/ 0 w 41429"/>
                <a:gd name="connsiteY3" fmla="*/ 121328 h 121328"/>
                <a:gd name="connsiteX0" fmla="*/ 46669 w 46669"/>
                <a:gd name="connsiteY0" fmla="*/ 0 h 110847"/>
                <a:gd name="connsiteX1" fmla="*/ 23674 w 46669"/>
                <a:gd name="connsiteY1" fmla="*/ 48704 h 110847"/>
                <a:gd name="connsiteX2" fmla="*/ 27312 w 46669"/>
                <a:gd name="connsiteY2" fmla="*/ 88190 h 110847"/>
                <a:gd name="connsiteX3" fmla="*/ 0 w 46669"/>
                <a:gd name="connsiteY3" fmla="*/ 110847 h 1108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6669" h="110847">
                  <a:moveTo>
                    <a:pt x="46669" y="0"/>
                  </a:moveTo>
                  <a:cubicBezTo>
                    <a:pt x="38531" y="20715"/>
                    <a:pt x="26900" y="34006"/>
                    <a:pt x="23674" y="48704"/>
                  </a:cubicBezTo>
                  <a:cubicBezTo>
                    <a:pt x="20448" y="63402"/>
                    <a:pt x="31258" y="77833"/>
                    <a:pt x="27312" y="88190"/>
                  </a:cubicBezTo>
                  <a:cubicBezTo>
                    <a:pt x="23366" y="98547"/>
                    <a:pt x="14303" y="108627"/>
                    <a:pt x="0" y="110847"/>
                  </a:cubicBezTo>
                </a:path>
              </a:pathLst>
            </a:custGeom>
            <a:noFill/>
            <a:ln w="50800">
              <a:solidFill>
                <a:srgbClr val="00B05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400"/>
            </a:p>
          </p:txBody>
        </p:sp>
        <p:sp>
          <p:nvSpPr>
            <p:cNvPr id="90" name="Полилиния 89"/>
            <p:cNvSpPr/>
            <p:nvPr/>
          </p:nvSpPr>
          <p:spPr>
            <a:xfrm>
              <a:off x="2512848" y="5989977"/>
              <a:ext cx="454417" cy="849389"/>
            </a:xfrm>
            <a:custGeom>
              <a:avLst/>
              <a:gdLst>
                <a:gd name="connsiteX0" fmla="*/ 390388 w 412239"/>
                <a:gd name="connsiteY0" fmla="*/ 0 h 770550"/>
                <a:gd name="connsiteX1" fmla="*/ 366808 w 412239"/>
                <a:gd name="connsiteY1" fmla="*/ 73361 h 770550"/>
                <a:gd name="connsiteX2" fmla="*/ 377288 w 412239"/>
                <a:gd name="connsiteY2" fmla="*/ 172924 h 770550"/>
                <a:gd name="connsiteX3" fmla="*/ 406109 w 412239"/>
                <a:gd name="connsiteY3" fmla="*/ 217465 h 770550"/>
                <a:gd name="connsiteX4" fmla="*/ 406109 w 412239"/>
                <a:gd name="connsiteY4" fmla="*/ 241045 h 770550"/>
                <a:gd name="connsiteX5" fmla="*/ 411349 w 412239"/>
                <a:gd name="connsiteY5" fmla="*/ 269866 h 770550"/>
                <a:gd name="connsiteX6" fmla="*/ 385148 w 412239"/>
                <a:gd name="connsiteY6" fmla="*/ 296066 h 770550"/>
                <a:gd name="connsiteX7" fmla="*/ 353708 w 412239"/>
                <a:gd name="connsiteY7" fmla="*/ 395629 h 770550"/>
                <a:gd name="connsiteX8" fmla="*/ 277726 w 412239"/>
                <a:gd name="connsiteY8" fmla="*/ 513531 h 770550"/>
                <a:gd name="connsiteX9" fmla="*/ 259386 w 412239"/>
                <a:gd name="connsiteY9" fmla="*/ 542352 h 770550"/>
                <a:gd name="connsiteX10" fmla="*/ 262006 w 412239"/>
                <a:gd name="connsiteY10" fmla="*/ 581653 h 770550"/>
                <a:gd name="connsiteX11" fmla="*/ 267246 w 412239"/>
                <a:gd name="connsiteY11" fmla="*/ 607853 h 770550"/>
                <a:gd name="connsiteX12" fmla="*/ 277726 w 412239"/>
                <a:gd name="connsiteY12" fmla="*/ 647154 h 770550"/>
                <a:gd name="connsiteX13" fmla="*/ 269866 w 412239"/>
                <a:gd name="connsiteY13" fmla="*/ 686455 h 770550"/>
                <a:gd name="connsiteX14" fmla="*/ 227945 w 412239"/>
                <a:gd name="connsiteY14" fmla="*/ 707415 h 770550"/>
                <a:gd name="connsiteX15" fmla="*/ 204364 w 412239"/>
                <a:gd name="connsiteY15" fmla="*/ 744096 h 770550"/>
                <a:gd name="connsiteX16" fmla="*/ 188644 w 412239"/>
                <a:gd name="connsiteY16" fmla="*/ 754576 h 770550"/>
                <a:gd name="connsiteX17" fmla="*/ 178164 w 412239"/>
                <a:gd name="connsiteY17" fmla="*/ 770297 h 770550"/>
                <a:gd name="connsiteX18" fmla="*/ 146723 w 412239"/>
                <a:gd name="connsiteY18" fmla="*/ 762437 h 770550"/>
                <a:gd name="connsiteX19" fmla="*/ 128383 w 412239"/>
                <a:gd name="connsiteY19" fmla="*/ 738856 h 770550"/>
                <a:gd name="connsiteX20" fmla="*/ 102182 w 412239"/>
                <a:gd name="connsiteY20" fmla="*/ 738856 h 770550"/>
                <a:gd name="connsiteX21" fmla="*/ 89082 w 412239"/>
                <a:gd name="connsiteY21" fmla="*/ 704795 h 770550"/>
                <a:gd name="connsiteX22" fmla="*/ 52401 w 412239"/>
                <a:gd name="connsiteY22" fmla="*/ 694315 h 770550"/>
                <a:gd name="connsiteX23" fmla="*/ 0 w 412239"/>
                <a:gd name="connsiteY23" fmla="*/ 649774 h 7705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412239" h="770550">
                  <a:moveTo>
                    <a:pt x="390388" y="0"/>
                  </a:moveTo>
                  <a:cubicBezTo>
                    <a:pt x="379689" y="22270"/>
                    <a:pt x="368991" y="44540"/>
                    <a:pt x="366808" y="73361"/>
                  </a:cubicBezTo>
                  <a:cubicBezTo>
                    <a:pt x="364625" y="102182"/>
                    <a:pt x="370738" y="148907"/>
                    <a:pt x="377288" y="172924"/>
                  </a:cubicBezTo>
                  <a:cubicBezTo>
                    <a:pt x="383838" y="196941"/>
                    <a:pt x="401306" y="206112"/>
                    <a:pt x="406109" y="217465"/>
                  </a:cubicBezTo>
                  <a:cubicBezTo>
                    <a:pt x="410913" y="228819"/>
                    <a:pt x="405236" y="232312"/>
                    <a:pt x="406109" y="241045"/>
                  </a:cubicBezTo>
                  <a:cubicBezTo>
                    <a:pt x="406982" y="249778"/>
                    <a:pt x="414843" y="260696"/>
                    <a:pt x="411349" y="269866"/>
                  </a:cubicBezTo>
                  <a:cubicBezTo>
                    <a:pt x="407856" y="279036"/>
                    <a:pt x="394755" y="275106"/>
                    <a:pt x="385148" y="296066"/>
                  </a:cubicBezTo>
                  <a:cubicBezTo>
                    <a:pt x="375541" y="317027"/>
                    <a:pt x="371612" y="359385"/>
                    <a:pt x="353708" y="395629"/>
                  </a:cubicBezTo>
                  <a:cubicBezTo>
                    <a:pt x="335804" y="431873"/>
                    <a:pt x="293446" y="489077"/>
                    <a:pt x="277726" y="513531"/>
                  </a:cubicBezTo>
                  <a:cubicBezTo>
                    <a:pt x="262006" y="537985"/>
                    <a:pt x="262006" y="530998"/>
                    <a:pt x="259386" y="542352"/>
                  </a:cubicBezTo>
                  <a:cubicBezTo>
                    <a:pt x="256766" y="553706"/>
                    <a:pt x="260696" y="570736"/>
                    <a:pt x="262006" y="581653"/>
                  </a:cubicBezTo>
                  <a:cubicBezTo>
                    <a:pt x="263316" y="592570"/>
                    <a:pt x="264626" y="596936"/>
                    <a:pt x="267246" y="607853"/>
                  </a:cubicBezTo>
                  <a:cubicBezTo>
                    <a:pt x="269866" y="618770"/>
                    <a:pt x="277289" y="634054"/>
                    <a:pt x="277726" y="647154"/>
                  </a:cubicBezTo>
                  <a:cubicBezTo>
                    <a:pt x="278163" y="660254"/>
                    <a:pt x="278163" y="676411"/>
                    <a:pt x="269866" y="686455"/>
                  </a:cubicBezTo>
                  <a:cubicBezTo>
                    <a:pt x="261569" y="696499"/>
                    <a:pt x="238862" y="697808"/>
                    <a:pt x="227945" y="707415"/>
                  </a:cubicBezTo>
                  <a:cubicBezTo>
                    <a:pt x="217028" y="717022"/>
                    <a:pt x="210914" y="736236"/>
                    <a:pt x="204364" y="744096"/>
                  </a:cubicBezTo>
                  <a:cubicBezTo>
                    <a:pt x="197814" y="751956"/>
                    <a:pt x="193011" y="750209"/>
                    <a:pt x="188644" y="754576"/>
                  </a:cubicBezTo>
                  <a:cubicBezTo>
                    <a:pt x="184277" y="758943"/>
                    <a:pt x="185151" y="768987"/>
                    <a:pt x="178164" y="770297"/>
                  </a:cubicBezTo>
                  <a:cubicBezTo>
                    <a:pt x="171177" y="771607"/>
                    <a:pt x="155020" y="767677"/>
                    <a:pt x="146723" y="762437"/>
                  </a:cubicBezTo>
                  <a:cubicBezTo>
                    <a:pt x="138426" y="757197"/>
                    <a:pt x="135806" y="742786"/>
                    <a:pt x="128383" y="738856"/>
                  </a:cubicBezTo>
                  <a:cubicBezTo>
                    <a:pt x="120960" y="734926"/>
                    <a:pt x="108732" y="744533"/>
                    <a:pt x="102182" y="738856"/>
                  </a:cubicBezTo>
                  <a:cubicBezTo>
                    <a:pt x="95632" y="733179"/>
                    <a:pt x="97379" y="712218"/>
                    <a:pt x="89082" y="704795"/>
                  </a:cubicBezTo>
                  <a:cubicBezTo>
                    <a:pt x="80785" y="697372"/>
                    <a:pt x="67248" y="703485"/>
                    <a:pt x="52401" y="694315"/>
                  </a:cubicBezTo>
                  <a:cubicBezTo>
                    <a:pt x="37554" y="685145"/>
                    <a:pt x="18777" y="667459"/>
                    <a:pt x="0" y="649774"/>
                  </a:cubicBezTo>
                </a:path>
              </a:pathLst>
            </a:custGeom>
            <a:noFill/>
            <a:ln w="25400">
              <a:solidFill>
                <a:srgbClr val="00B0F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400" dirty="0"/>
            </a:p>
          </p:txBody>
        </p:sp>
        <p:sp>
          <p:nvSpPr>
            <p:cNvPr id="91" name="Полилиния 90"/>
            <p:cNvSpPr/>
            <p:nvPr/>
          </p:nvSpPr>
          <p:spPr>
            <a:xfrm>
              <a:off x="2691911" y="6568851"/>
              <a:ext cx="112638" cy="33410"/>
            </a:xfrm>
            <a:custGeom>
              <a:avLst/>
              <a:gdLst>
                <a:gd name="connsiteX0" fmla="*/ 0 w 102183"/>
                <a:gd name="connsiteY0" fmla="*/ 30309 h 30309"/>
                <a:gd name="connsiteX1" fmla="*/ 52402 w 102183"/>
                <a:gd name="connsiteY1" fmla="*/ 1488 h 30309"/>
                <a:gd name="connsiteX2" fmla="*/ 102183 w 102183"/>
                <a:gd name="connsiteY2" fmla="*/ 6728 h 303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02183" h="30309">
                  <a:moveTo>
                    <a:pt x="0" y="30309"/>
                  </a:moveTo>
                  <a:cubicBezTo>
                    <a:pt x="17686" y="17863"/>
                    <a:pt x="35372" y="5418"/>
                    <a:pt x="52402" y="1488"/>
                  </a:cubicBezTo>
                  <a:cubicBezTo>
                    <a:pt x="69433" y="-2442"/>
                    <a:pt x="85808" y="2143"/>
                    <a:pt x="102183" y="6728"/>
                  </a:cubicBezTo>
                </a:path>
              </a:pathLst>
            </a:custGeom>
            <a:noFill/>
            <a:ln w="50800">
              <a:solidFill>
                <a:srgbClr val="00B05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400"/>
            </a:p>
          </p:txBody>
        </p:sp>
        <p:sp>
          <p:nvSpPr>
            <p:cNvPr id="92" name="Полилиния 91"/>
            <p:cNvSpPr/>
            <p:nvPr/>
          </p:nvSpPr>
          <p:spPr>
            <a:xfrm>
              <a:off x="5155348" y="2866933"/>
              <a:ext cx="498888" cy="72201"/>
            </a:xfrm>
            <a:custGeom>
              <a:avLst/>
              <a:gdLst>
                <a:gd name="connsiteX0" fmla="*/ 0 w 452582"/>
                <a:gd name="connsiteY0" fmla="*/ 53085 h 65499"/>
                <a:gd name="connsiteX1" fmla="*/ 55418 w 452582"/>
                <a:gd name="connsiteY1" fmla="*/ 65400 h 65499"/>
                <a:gd name="connsiteX2" fmla="*/ 123151 w 452582"/>
                <a:gd name="connsiteY2" fmla="*/ 50006 h 65499"/>
                <a:gd name="connsiteX3" fmla="*/ 218594 w 452582"/>
                <a:gd name="connsiteY3" fmla="*/ 65400 h 65499"/>
                <a:gd name="connsiteX4" fmla="*/ 267854 w 452582"/>
                <a:gd name="connsiteY4" fmla="*/ 56164 h 65499"/>
                <a:gd name="connsiteX5" fmla="*/ 298642 w 452582"/>
                <a:gd name="connsiteY5" fmla="*/ 46928 h 65499"/>
                <a:gd name="connsiteX6" fmla="*/ 329430 w 452582"/>
                <a:gd name="connsiteY6" fmla="*/ 53085 h 65499"/>
                <a:gd name="connsiteX7" fmla="*/ 384848 w 452582"/>
                <a:gd name="connsiteY7" fmla="*/ 28455 h 65499"/>
                <a:gd name="connsiteX8" fmla="*/ 415636 w 452582"/>
                <a:gd name="connsiteY8" fmla="*/ 16140 h 65499"/>
                <a:gd name="connsiteX9" fmla="*/ 446424 w 452582"/>
                <a:gd name="connsiteY9" fmla="*/ 746 h 65499"/>
                <a:gd name="connsiteX10" fmla="*/ 452582 w 452582"/>
                <a:gd name="connsiteY10" fmla="*/ 3825 h 654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452582" h="65499">
                  <a:moveTo>
                    <a:pt x="0" y="53085"/>
                  </a:moveTo>
                  <a:cubicBezTo>
                    <a:pt x="17446" y="59499"/>
                    <a:pt x="34893" y="65913"/>
                    <a:pt x="55418" y="65400"/>
                  </a:cubicBezTo>
                  <a:cubicBezTo>
                    <a:pt x="75943" y="64887"/>
                    <a:pt x="95955" y="50006"/>
                    <a:pt x="123151" y="50006"/>
                  </a:cubicBezTo>
                  <a:cubicBezTo>
                    <a:pt x="150347" y="50006"/>
                    <a:pt x="194477" y="64374"/>
                    <a:pt x="218594" y="65400"/>
                  </a:cubicBezTo>
                  <a:cubicBezTo>
                    <a:pt x="242711" y="66426"/>
                    <a:pt x="254513" y="59243"/>
                    <a:pt x="267854" y="56164"/>
                  </a:cubicBezTo>
                  <a:cubicBezTo>
                    <a:pt x="281195" y="53085"/>
                    <a:pt x="288379" y="47441"/>
                    <a:pt x="298642" y="46928"/>
                  </a:cubicBezTo>
                  <a:cubicBezTo>
                    <a:pt x="308905" y="46415"/>
                    <a:pt x="315062" y="56164"/>
                    <a:pt x="329430" y="53085"/>
                  </a:cubicBezTo>
                  <a:cubicBezTo>
                    <a:pt x="343798" y="50006"/>
                    <a:pt x="370480" y="34613"/>
                    <a:pt x="384848" y="28455"/>
                  </a:cubicBezTo>
                  <a:cubicBezTo>
                    <a:pt x="399216" y="22297"/>
                    <a:pt x="405373" y="20758"/>
                    <a:pt x="415636" y="16140"/>
                  </a:cubicBezTo>
                  <a:cubicBezTo>
                    <a:pt x="425899" y="11522"/>
                    <a:pt x="446424" y="746"/>
                    <a:pt x="446424" y="746"/>
                  </a:cubicBezTo>
                  <a:cubicBezTo>
                    <a:pt x="452582" y="-1307"/>
                    <a:pt x="452582" y="1259"/>
                    <a:pt x="452582" y="3825"/>
                  </a:cubicBezTo>
                </a:path>
              </a:pathLst>
            </a:custGeom>
            <a:noFill/>
            <a:ln w="1270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400"/>
            </a:p>
          </p:txBody>
        </p:sp>
        <p:sp>
          <p:nvSpPr>
            <p:cNvPr id="93" name="Полилиния 92"/>
            <p:cNvSpPr/>
            <p:nvPr/>
          </p:nvSpPr>
          <p:spPr>
            <a:xfrm>
              <a:off x="5499172" y="2922785"/>
              <a:ext cx="231051" cy="50724"/>
            </a:xfrm>
            <a:custGeom>
              <a:avLst/>
              <a:gdLst>
                <a:gd name="connsiteX0" fmla="*/ 0 w 209605"/>
                <a:gd name="connsiteY0" fmla="*/ 0 h 46016"/>
                <a:gd name="connsiteX1" fmla="*/ 41921 w 209605"/>
                <a:gd name="connsiteY1" fmla="*/ 36681 h 46016"/>
                <a:gd name="connsiteX2" fmla="*/ 157204 w 209605"/>
                <a:gd name="connsiteY2" fmla="*/ 44541 h 46016"/>
                <a:gd name="connsiteX3" fmla="*/ 209605 w 209605"/>
                <a:gd name="connsiteY3" fmla="*/ 13100 h 460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09605" h="46016">
                  <a:moveTo>
                    <a:pt x="0" y="0"/>
                  </a:moveTo>
                  <a:cubicBezTo>
                    <a:pt x="7860" y="14629"/>
                    <a:pt x="15720" y="29258"/>
                    <a:pt x="41921" y="36681"/>
                  </a:cubicBezTo>
                  <a:cubicBezTo>
                    <a:pt x="68122" y="44105"/>
                    <a:pt x="129257" y="48471"/>
                    <a:pt x="157204" y="44541"/>
                  </a:cubicBezTo>
                  <a:cubicBezTo>
                    <a:pt x="185151" y="40611"/>
                    <a:pt x="197378" y="26855"/>
                    <a:pt x="209605" y="13100"/>
                  </a:cubicBezTo>
                </a:path>
              </a:pathLst>
            </a:custGeom>
            <a:noFill/>
            <a:ln w="25400">
              <a:solidFill>
                <a:srgbClr val="00B05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400"/>
            </a:p>
          </p:txBody>
        </p:sp>
        <p:sp>
          <p:nvSpPr>
            <p:cNvPr id="94" name="Полилиния 93"/>
            <p:cNvSpPr/>
            <p:nvPr/>
          </p:nvSpPr>
          <p:spPr>
            <a:xfrm>
              <a:off x="2006303" y="2420400"/>
              <a:ext cx="169624" cy="110907"/>
            </a:xfrm>
            <a:custGeom>
              <a:avLst/>
              <a:gdLst>
                <a:gd name="connsiteX0" fmla="*/ 0 w 153880"/>
                <a:gd name="connsiteY0" fmla="*/ 255 h 100868"/>
                <a:gd name="connsiteX1" fmla="*/ 85818 w 153880"/>
                <a:gd name="connsiteY1" fmla="*/ 6173 h 100868"/>
                <a:gd name="connsiteX2" fmla="*/ 145002 w 153880"/>
                <a:gd name="connsiteY2" fmla="*/ 41684 h 100868"/>
                <a:gd name="connsiteX3" fmla="*/ 145002 w 153880"/>
                <a:gd name="connsiteY3" fmla="*/ 68317 h 100868"/>
                <a:gd name="connsiteX4" fmla="*/ 153880 w 153880"/>
                <a:gd name="connsiteY4" fmla="*/ 100868 h 100868"/>
                <a:gd name="connsiteX0" fmla="*/ 0 w 153880"/>
                <a:gd name="connsiteY0" fmla="*/ 438 h 101051"/>
                <a:gd name="connsiteX1" fmla="*/ 47348 w 153880"/>
                <a:gd name="connsiteY1" fmla="*/ 438 h 101051"/>
                <a:gd name="connsiteX2" fmla="*/ 85818 w 153880"/>
                <a:gd name="connsiteY2" fmla="*/ 6356 h 101051"/>
                <a:gd name="connsiteX3" fmla="*/ 145002 w 153880"/>
                <a:gd name="connsiteY3" fmla="*/ 41867 h 101051"/>
                <a:gd name="connsiteX4" fmla="*/ 145002 w 153880"/>
                <a:gd name="connsiteY4" fmla="*/ 68500 h 101051"/>
                <a:gd name="connsiteX5" fmla="*/ 153880 w 153880"/>
                <a:gd name="connsiteY5" fmla="*/ 101051 h 101051"/>
                <a:gd name="connsiteX0" fmla="*/ 0 w 153880"/>
                <a:gd name="connsiteY0" fmla="*/ 0 h 100613"/>
                <a:gd name="connsiteX1" fmla="*/ 44389 w 153880"/>
                <a:gd name="connsiteY1" fmla="*/ 14797 h 100613"/>
                <a:gd name="connsiteX2" fmla="*/ 85818 w 153880"/>
                <a:gd name="connsiteY2" fmla="*/ 5918 h 100613"/>
                <a:gd name="connsiteX3" fmla="*/ 145002 w 153880"/>
                <a:gd name="connsiteY3" fmla="*/ 41429 h 100613"/>
                <a:gd name="connsiteX4" fmla="*/ 145002 w 153880"/>
                <a:gd name="connsiteY4" fmla="*/ 68062 h 100613"/>
                <a:gd name="connsiteX5" fmla="*/ 153880 w 153880"/>
                <a:gd name="connsiteY5" fmla="*/ 100613 h 1006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53880" h="100613">
                  <a:moveTo>
                    <a:pt x="0" y="0"/>
                  </a:moveTo>
                  <a:cubicBezTo>
                    <a:pt x="7891" y="0"/>
                    <a:pt x="30086" y="13811"/>
                    <a:pt x="44389" y="14797"/>
                  </a:cubicBezTo>
                  <a:cubicBezTo>
                    <a:pt x="58692" y="15783"/>
                    <a:pt x="69049" y="1479"/>
                    <a:pt x="85818" y="5918"/>
                  </a:cubicBezTo>
                  <a:cubicBezTo>
                    <a:pt x="102587" y="10357"/>
                    <a:pt x="135138" y="31072"/>
                    <a:pt x="145002" y="41429"/>
                  </a:cubicBezTo>
                  <a:cubicBezTo>
                    <a:pt x="154866" y="51786"/>
                    <a:pt x="143522" y="58198"/>
                    <a:pt x="145002" y="68062"/>
                  </a:cubicBezTo>
                  <a:cubicBezTo>
                    <a:pt x="146482" y="77926"/>
                    <a:pt x="150181" y="89269"/>
                    <a:pt x="153880" y="100613"/>
                  </a:cubicBezTo>
                </a:path>
              </a:pathLst>
            </a:custGeom>
            <a:noFill/>
            <a:ln w="50800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400"/>
            </a:p>
          </p:txBody>
        </p:sp>
        <p:grpSp>
          <p:nvGrpSpPr>
            <p:cNvPr id="95" name="Группа 94"/>
            <p:cNvGrpSpPr/>
            <p:nvPr/>
          </p:nvGrpSpPr>
          <p:grpSpPr>
            <a:xfrm>
              <a:off x="2796570" y="3074777"/>
              <a:ext cx="3526244" cy="3576952"/>
              <a:chOff x="2536837" y="2789382"/>
              <a:chExt cx="3198945" cy="3244946"/>
            </a:xfrm>
          </p:grpSpPr>
          <p:sp>
            <p:nvSpPr>
              <p:cNvPr id="96" name="Полилиния 95"/>
              <p:cNvSpPr/>
              <p:nvPr/>
            </p:nvSpPr>
            <p:spPr>
              <a:xfrm>
                <a:off x="2536837" y="3429889"/>
                <a:ext cx="1853706" cy="2604439"/>
              </a:xfrm>
              <a:custGeom>
                <a:avLst/>
                <a:gdLst>
                  <a:gd name="connsiteX0" fmla="*/ 1348473 w 1348473"/>
                  <a:gd name="connsiteY0" fmla="*/ 0 h 2298453"/>
                  <a:gd name="connsiteX1" fmla="*/ 1149226 w 1348473"/>
                  <a:gd name="connsiteY1" fmla="*/ 316660 h 2298453"/>
                  <a:gd name="connsiteX2" fmla="*/ 1010465 w 1348473"/>
                  <a:gd name="connsiteY2" fmla="*/ 501675 h 2298453"/>
                  <a:gd name="connsiteX3" fmla="*/ 925074 w 1348473"/>
                  <a:gd name="connsiteY3" fmla="*/ 537255 h 2298453"/>
                  <a:gd name="connsiteX4" fmla="*/ 829009 w 1348473"/>
                  <a:gd name="connsiteY4" fmla="*/ 619088 h 2298453"/>
                  <a:gd name="connsiteX5" fmla="*/ 750733 w 1348473"/>
                  <a:gd name="connsiteY5" fmla="*/ 1053162 h 2298453"/>
                  <a:gd name="connsiteX6" fmla="*/ 658226 w 1348473"/>
                  <a:gd name="connsiteY6" fmla="*/ 1352032 h 2298453"/>
                  <a:gd name="connsiteX7" fmla="*/ 501675 w 1348473"/>
                  <a:gd name="connsiteY7" fmla="*/ 1629554 h 2298453"/>
                  <a:gd name="connsiteX8" fmla="*/ 149435 w 1348473"/>
                  <a:gd name="connsiteY8" fmla="*/ 2031605 h 2298453"/>
                  <a:gd name="connsiteX9" fmla="*/ 60486 w 1348473"/>
                  <a:gd name="connsiteY9" fmla="*/ 2195272 h 2298453"/>
                  <a:gd name="connsiteX10" fmla="*/ 0 w 1348473"/>
                  <a:gd name="connsiteY10" fmla="*/ 2298453 h 2298453"/>
                  <a:gd name="connsiteX0" fmla="*/ 1853706 w 1853706"/>
                  <a:gd name="connsiteY0" fmla="*/ 0 h 2604439"/>
                  <a:gd name="connsiteX1" fmla="*/ 1654459 w 1853706"/>
                  <a:gd name="connsiteY1" fmla="*/ 316660 h 2604439"/>
                  <a:gd name="connsiteX2" fmla="*/ 1515698 w 1853706"/>
                  <a:gd name="connsiteY2" fmla="*/ 501675 h 2604439"/>
                  <a:gd name="connsiteX3" fmla="*/ 1430307 w 1853706"/>
                  <a:gd name="connsiteY3" fmla="*/ 537255 h 2604439"/>
                  <a:gd name="connsiteX4" fmla="*/ 1334242 w 1853706"/>
                  <a:gd name="connsiteY4" fmla="*/ 619088 h 2604439"/>
                  <a:gd name="connsiteX5" fmla="*/ 1255966 w 1853706"/>
                  <a:gd name="connsiteY5" fmla="*/ 1053162 h 2604439"/>
                  <a:gd name="connsiteX6" fmla="*/ 1163459 w 1853706"/>
                  <a:gd name="connsiteY6" fmla="*/ 1352032 h 2604439"/>
                  <a:gd name="connsiteX7" fmla="*/ 1006908 w 1853706"/>
                  <a:gd name="connsiteY7" fmla="*/ 1629554 h 2604439"/>
                  <a:gd name="connsiteX8" fmla="*/ 654668 w 1853706"/>
                  <a:gd name="connsiteY8" fmla="*/ 2031605 h 2604439"/>
                  <a:gd name="connsiteX9" fmla="*/ 565719 w 1853706"/>
                  <a:gd name="connsiteY9" fmla="*/ 2195272 h 2604439"/>
                  <a:gd name="connsiteX10" fmla="*/ 0 w 1853706"/>
                  <a:gd name="connsiteY10" fmla="*/ 2604439 h 2604439"/>
                  <a:gd name="connsiteX0" fmla="*/ 1853706 w 1853706"/>
                  <a:gd name="connsiteY0" fmla="*/ 0 h 2604439"/>
                  <a:gd name="connsiteX1" fmla="*/ 1654459 w 1853706"/>
                  <a:gd name="connsiteY1" fmla="*/ 316660 h 2604439"/>
                  <a:gd name="connsiteX2" fmla="*/ 1515698 w 1853706"/>
                  <a:gd name="connsiteY2" fmla="*/ 501675 h 2604439"/>
                  <a:gd name="connsiteX3" fmla="*/ 1430307 w 1853706"/>
                  <a:gd name="connsiteY3" fmla="*/ 537255 h 2604439"/>
                  <a:gd name="connsiteX4" fmla="*/ 1334242 w 1853706"/>
                  <a:gd name="connsiteY4" fmla="*/ 619088 h 2604439"/>
                  <a:gd name="connsiteX5" fmla="*/ 1255966 w 1853706"/>
                  <a:gd name="connsiteY5" fmla="*/ 1053162 h 2604439"/>
                  <a:gd name="connsiteX6" fmla="*/ 1163459 w 1853706"/>
                  <a:gd name="connsiteY6" fmla="*/ 1352032 h 2604439"/>
                  <a:gd name="connsiteX7" fmla="*/ 1006908 w 1853706"/>
                  <a:gd name="connsiteY7" fmla="*/ 1629554 h 2604439"/>
                  <a:gd name="connsiteX8" fmla="*/ 654668 w 1853706"/>
                  <a:gd name="connsiteY8" fmla="*/ 2031605 h 2604439"/>
                  <a:gd name="connsiteX9" fmla="*/ 565719 w 1853706"/>
                  <a:gd name="connsiteY9" fmla="*/ 2195272 h 2604439"/>
                  <a:gd name="connsiteX10" fmla="*/ 277523 w 1853706"/>
                  <a:gd name="connsiteY10" fmla="*/ 2401635 h 2604439"/>
                  <a:gd name="connsiteX11" fmla="*/ 0 w 1853706"/>
                  <a:gd name="connsiteY11" fmla="*/ 2604439 h 2604439"/>
                  <a:gd name="connsiteX0" fmla="*/ 1853706 w 1853706"/>
                  <a:gd name="connsiteY0" fmla="*/ 0 h 2604439"/>
                  <a:gd name="connsiteX1" fmla="*/ 1654459 w 1853706"/>
                  <a:gd name="connsiteY1" fmla="*/ 316660 h 2604439"/>
                  <a:gd name="connsiteX2" fmla="*/ 1515698 w 1853706"/>
                  <a:gd name="connsiteY2" fmla="*/ 501675 h 2604439"/>
                  <a:gd name="connsiteX3" fmla="*/ 1430307 w 1853706"/>
                  <a:gd name="connsiteY3" fmla="*/ 537255 h 2604439"/>
                  <a:gd name="connsiteX4" fmla="*/ 1334242 w 1853706"/>
                  <a:gd name="connsiteY4" fmla="*/ 619088 h 2604439"/>
                  <a:gd name="connsiteX5" fmla="*/ 1255966 w 1853706"/>
                  <a:gd name="connsiteY5" fmla="*/ 1053162 h 2604439"/>
                  <a:gd name="connsiteX6" fmla="*/ 1163459 w 1853706"/>
                  <a:gd name="connsiteY6" fmla="*/ 1352032 h 2604439"/>
                  <a:gd name="connsiteX7" fmla="*/ 1006908 w 1853706"/>
                  <a:gd name="connsiteY7" fmla="*/ 1629554 h 2604439"/>
                  <a:gd name="connsiteX8" fmla="*/ 654668 w 1853706"/>
                  <a:gd name="connsiteY8" fmla="*/ 2031605 h 2604439"/>
                  <a:gd name="connsiteX9" fmla="*/ 565719 w 1853706"/>
                  <a:gd name="connsiteY9" fmla="*/ 2195272 h 2604439"/>
                  <a:gd name="connsiteX10" fmla="*/ 391378 w 1853706"/>
                  <a:gd name="connsiteY10" fmla="*/ 2390961 h 2604439"/>
                  <a:gd name="connsiteX11" fmla="*/ 0 w 1853706"/>
                  <a:gd name="connsiteY11" fmla="*/ 2604439 h 2604439"/>
                  <a:gd name="connsiteX0" fmla="*/ 1853706 w 1853706"/>
                  <a:gd name="connsiteY0" fmla="*/ 0 h 2604439"/>
                  <a:gd name="connsiteX1" fmla="*/ 1654459 w 1853706"/>
                  <a:gd name="connsiteY1" fmla="*/ 316660 h 2604439"/>
                  <a:gd name="connsiteX2" fmla="*/ 1515698 w 1853706"/>
                  <a:gd name="connsiteY2" fmla="*/ 501675 h 2604439"/>
                  <a:gd name="connsiteX3" fmla="*/ 1430307 w 1853706"/>
                  <a:gd name="connsiteY3" fmla="*/ 537255 h 2604439"/>
                  <a:gd name="connsiteX4" fmla="*/ 1334242 w 1853706"/>
                  <a:gd name="connsiteY4" fmla="*/ 619088 h 2604439"/>
                  <a:gd name="connsiteX5" fmla="*/ 1255966 w 1853706"/>
                  <a:gd name="connsiteY5" fmla="*/ 1053162 h 2604439"/>
                  <a:gd name="connsiteX6" fmla="*/ 1163459 w 1853706"/>
                  <a:gd name="connsiteY6" fmla="*/ 1352032 h 2604439"/>
                  <a:gd name="connsiteX7" fmla="*/ 1006908 w 1853706"/>
                  <a:gd name="connsiteY7" fmla="*/ 1629554 h 2604439"/>
                  <a:gd name="connsiteX8" fmla="*/ 654668 w 1853706"/>
                  <a:gd name="connsiteY8" fmla="*/ 2031605 h 2604439"/>
                  <a:gd name="connsiteX9" fmla="*/ 565719 w 1853706"/>
                  <a:gd name="connsiteY9" fmla="*/ 2195272 h 2604439"/>
                  <a:gd name="connsiteX10" fmla="*/ 391378 w 1853706"/>
                  <a:gd name="connsiteY10" fmla="*/ 2390961 h 2604439"/>
                  <a:gd name="connsiteX11" fmla="*/ 167225 w 1853706"/>
                  <a:gd name="connsiteY11" fmla="*/ 2519048 h 2604439"/>
                  <a:gd name="connsiteX12" fmla="*/ 0 w 1853706"/>
                  <a:gd name="connsiteY12" fmla="*/ 2604439 h 2604439"/>
                  <a:gd name="connsiteX0" fmla="*/ 1853706 w 1853706"/>
                  <a:gd name="connsiteY0" fmla="*/ 0 h 2604439"/>
                  <a:gd name="connsiteX1" fmla="*/ 1654459 w 1853706"/>
                  <a:gd name="connsiteY1" fmla="*/ 316660 h 2604439"/>
                  <a:gd name="connsiteX2" fmla="*/ 1515698 w 1853706"/>
                  <a:gd name="connsiteY2" fmla="*/ 501675 h 2604439"/>
                  <a:gd name="connsiteX3" fmla="*/ 1430307 w 1853706"/>
                  <a:gd name="connsiteY3" fmla="*/ 537255 h 2604439"/>
                  <a:gd name="connsiteX4" fmla="*/ 1334242 w 1853706"/>
                  <a:gd name="connsiteY4" fmla="*/ 619088 h 2604439"/>
                  <a:gd name="connsiteX5" fmla="*/ 1255966 w 1853706"/>
                  <a:gd name="connsiteY5" fmla="*/ 1053162 h 2604439"/>
                  <a:gd name="connsiteX6" fmla="*/ 1163459 w 1853706"/>
                  <a:gd name="connsiteY6" fmla="*/ 1352032 h 2604439"/>
                  <a:gd name="connsiteX7" fmla="*/ 1006908 w 1853706"/>
                  <a:gd name="connsiteY7" fmla="*/ 1629554 h 2604439"/>
                  <a:gd name="connsiteX8" fmla="*/ 654668 w 1853706"/>
                  <a:gd name="connsiteY8" fmla="*/ 2031605 h 2604439"/>
                  <a:gd name="connsiteX9" fmla="*/ 565719 w 1853706"/>
                  <a:gd name="connsiteY9" fmla="*/ 2195272 h 2604439"/>
                  <a:gd name="connsiteX10" fmla="*/ 391378 w 1853706"/>
                  <a:gd name="connsiteY10" fmla="*/ 2390961 h 2604439"/>
                  <a:gd name="connsiteX11" fmla="*/ 138761 w 1853706"/>
                  <a:gd name="connsiteY11" fmla="*/ 2497700 h 2604439"/>
                  <a:gd name="connsiteX12" fmla="*/ 0 w 1853706"/>
                  <a:gd name="connsiteY12" fmla="*/ 2604439 h 2604439"/>
                  <a:gd name="connsiteX0" fmla="*/ 1853706 w 1853706"/>
                  <a:gd name="connsiteY0" fmla="*/ 0 h 2604439"/>
                  <a:gd name="connsiteX1" fmla="*/ 1654459 w 1853706"/>
                  <a:gd name="connsiteY1" fmla="*/ 316660 h 2604439"/>
                  <a:gd name="connsiteX2" fmla="*/ 1515698 w 1853706"/>
                  <a:gd name="connsiteY2" fmla="*/ 501675 h 2604439"/>
                  <a:gd name="connsiteX3" fmla="*/ 1430307 w 1853706"/>
                  <a:gd name="connsiteY3" fmla="*/ 537255 h 2604439"/>
                  <a:gd name="connsiteX4" fmla="*/ 1334242 w 1853706"/>
                  <a:gd name="connsiteY4" fmla="*/ 619088 h 2604439"/>
                  <a:gd name="connsiteX5" fmla="*/ 1255966 w 1853706"/>
                  <a:gd name="connsiteY5" fmla="*/ 1053162 h 2604439"/>
                  <a:gd name="connsiteX6" fmla="*/ 1163459 w 1853706"/>
                  <a:gd name="connsiteY6" fmla="*/ 1352032 h 2604439"/>
                  <a:gd name="connsiteX7" fmla="*/ 1006908 w 1853706"/>
                  <a:gd name="connsiteY7" fmla="*/ 1629554 h 2604439"/>
                  <a:gd name="connsiteX8" fmla="*/ 654668 w 1853706"/>
                  <a:gd name="connsiteY8" fmla="*/ 2031605 h 2604439"/>
                  <a:gd name="connsiteX9" fmla="*/ 555045 w 1853706"/>
                  <a:gd name="connsiteY9" fmla="*/ 2227294 h 2604439"/>
                  <a:gd name="connsiteX10" fmla="*/ 391378 w 1853706"/>
                  <a:gd name="connsiteY10" fmla="*/ 2390961 h 2604439"/>
                  <a:gd name="connsiteX11" fmla="*/ 138761 w 1853706"/>
                  <a:gd name="connsiteY11" fmla="*/ 2497700 h 2604439"/>
                  <a:gd name="connsiteX12" fmla="*/ 0 w 1853706"/>
                  <a:gd name="connsiteY12" fmla="*/ 2604439 h 26044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853706" h="2604439">
                    <a:moveTo>
                      <a:pt x="1853706" y="0"/>
                    </a:moveTo>
                    <a:cubicBezTo>
                      <a:pt x="1782250" y="116523"/>
                      <a:pt x="1710794" y="233047"/>
                      <a:pt x="1654459" y="316660"/>
                    </a:cubicBezTo>
                    <a:cubicBezTo>
                      <a:pt x="1598124" y="400273"/>
                      <a:pt x="1553057" y="464909"/>
                      <a:pt x="1515698" y="501675"/>
                    </a:cubicBezTo>
                    <a:cubicBezTo>
                      <a:pt x="1478339" y="538441"/>
                      <a:pt x="1460550" y="517686"/>
                      <a:pt x="1430307" y="537255"/>
                    </a:cubicBezTo>
                    <a:cubicBezTo>
                      <a:pt x="1400064" y="556824"/>
                      <a:pt x="1363299" y="533104"/>
                      <a:pt x="1334242" y="619088"/>
                    </a:cubicBezTo>
                    <a:cubicBezTo>
                      <a:pt x="1305185" y="705072"/>
                      <a:pt x="1284430" y="931005"/>
                      <a:pt x="1255966" y="1053162"/>
                    </a:cubicBezTo>
                    <a:cubicBezTo>
                      <a:pt x="1227502" y="1175319"/>
                      <a:pt x="1204969" y="1255967"/>
                      <a:pt x="1163459" y="1352032"/>
                    </a:cubicBezTo>
                    <a:cubicBezTo>
                      <a:pt x="1121949" y="1448097"/>
                      <a:pt x="1091706" y="1516292"/>
                      <a:pt x="1006908" y="1629554"/>
                    </a:cubicBezTo>
                    <a:cubicBezTo>
                      <a:pt x="922110" y="1742816"/>
                      <a:pt x="729978" y="1931982"/>
                      <a:pt x="654668" y="2031605"/>
                    </a:cubicBezTo>
                    <a:cubicBezTo>
                      <a:pt x="579358" y="2131228"/>
                      <a:pt x="598927" y="2167401"/>
                      <a:pt x="555045" y="2227294"/>
                    </a:cubicBezTo>
                    <a:cubicBezTo>
                      <a:pt x="511163" y="2287187"/>
                      <a:pt x="457794" y="2336998"/>
                      <a:pt x="391378" y="2390961"/>
                    </a:cubicBezTo>
                    <a:lnTo>
                      <a:pt x="138761" y="2497700"/>
                    </a:lnTo>
                    <a:lnTo>
                      <a:pt x="0" y="2604439"/>
                    </a:lnTo>
                  </a:path>
                </a:pathLst>
              </a:custGeom>
              <a:noFill/>
              <a:ln w="50800">
                <a:solidFill>
                  <a:srgbClr val="00B0F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00" dirty="0"/>
              </a:p>
              <a:p>
                <a:pPr algn="ctr"/>
                <a:endParaRPr lang="ru-RU" sz="1400" dirty="0"/>
              </a:p>
            </p:txBody>
          </p:sp>
          <p:sp>
            <p:nvSpPr>
              <p:cNvPr id="103" name="Полилиния 102"/>
              <p:cNvSpPr/>
              <p:nvPr/>
            </p:nvSpPr>
            <p:spPr>
              <a:xfrm>
                <a:off x="5390958" y="2789382"/>
                <a:ext cx="344824" cy="317115"/>
              </a:xfrm>
              <a:custGeom>
                <a:avLst/>
                <a:gdLst>
                  <a:gd name="connsiteX0" fmla="*/ 344824 w 344824"/>
                  <a:gd name="connsiteY0" fmla="*/ 0 h 317115"/>
                  <a:gd name="connsiteX1" fmla="*/ 215515 w 344824"/>
                  <a:gd name="connsiteY1" fmla="*/ 98521 h 317115"/>
                  <a:gd name="connsiteX2" fmla="*/ 0 w 344824"/>
                  <a:gd name="connsiteY2" fmla="*/ 317115 h 3171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44824" h="317115">
                    <a:moveTo>
                      <a:pt x="344824" y="0"/>
                    </a:moveTo>
                    <a:cubicBezTo>
                      <a:pt x="308905" y="22834"/>
                      <a:pt x="272986" y="45669"/>
                      <a:pt x="215515" y="98521"/>
                    </a:cubicBezTo>
                    <a:cubicBezTo>
                      <a:pt x="158044" y="151374"/>
                      <a:pt x="79022" y="234244"/>
                      <a:pt x="0" y="317115"/>
                    </a:cubicBezTo>
                  </a:path>
                </a:pathLst>
              </a:custGeom>
              <a:noFill/>
              <a:ln w="50800">
                <a:solidFill>
                  <a:srgbClr val="00B0F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sz="1400"/>
              </a:p>
            </p:txBody>
          </p:sp>
          <p:sp>
            <p:nvSpPr>
              <p:cNvPr id="104" name="Полилиния 103"/>
              <p:cNvSpPr/>
              <p:nvPr/>
            </p:nvSpPr>
            <p:spPr>
              <a:xfrm>
                <a:off x="4784226" y="3093963"/>
                <a:ext cx="618382" cy="340934"/>
              </a:xfrm>
              <a:custGeom>
                <a:avLst/>
                <a:gdLst>
                  <a:gd name="connsiteX0" fmla="*/ 607853 w 607853"/>
                  <a:gd name="connsiteY0" fmla="*/ 0 h 351088"/>
                  <a:gd name="connsiteX1" fmla="*/ 558072 w 607853"/>
                  <a:gd name="connsiteY1" fmla="*/ 13101 h 351088"/>
                  <a:gd name="connsiteX2" fmla="*/ 521391 w 607853"/>
                  <a:gd name="connsiteY2" fmla="*/ 57642 h 351088"/>
                  <a:gd name="connsiteX3" fmla="*/ 471610 w 607853"/>
                  <a:gd name="connsiteY3" fmla="*/ 86462 h 351088"/>
                  <a:gd name="connsiteX4" fmla="*/ 440169 w 607853"/>
                  <a:gd name="connsiteY4" fmla="*/ 112663 h 351088"/>
                  <a:gd name="connsiteX5" fmla="*/ 330127 w 607853"/>
                  <a:gd name="connsiteY5" fmla="*/ 138863 h 351088"/>
                  <a:gd name="connsiteX6" fmla="*/ 256765 w 607853"/>
                  <a:gd name="connsiteY6" fmla="*/ 149344 h 351088"/>
                  <a:gd name="connsiteX7" fmla="*/ 159823 w 607853"/>
                  <a:gd name="connsiteY7" fmla="*/ 201745 h 351088"/>
                  <a:gd name="connsiteX8" fmla="*/ 110042 w 607853"/>
                  <a:gd name="connsiteY8" fmla="*/ 230565 h 351088"/>
                  <a:gd name="connsiteX9" fmla="*/ 81221 w 607853"/>
                  <a:gd name="connsiteY9" fmla="*/ 280347 h 351088"/>
                  <a:gd name="connsiteX10" fmla="*/ 39301 w 607853"/>
                  <a:gd name="connsiteY10" fmla="*/ 309167 h 351088"/>
                  <a:gd name="connsiteX11" fmla="*/ 0 w 607853"/>
                  <a:gd name="connsiteY11" fmla="*/ 351088 h 351088"/>
                  <a:gd name="connsiteX0" fmla="*/ 624540 w 624540"/>
                  <a:gd name="connsiteY0" fmla="*/ 925 h 342001"/>
                  <a:gd name="connsiteX1" fmla="*/ 558072 w 624540"/>
                  <a:gd name="connsiteY1" fmla="*/ 4014 h 342001"/>
                  <a:gd name="connsiteX2" fmla="*/ 521391 w 624540"/>
                  <a:gd name="connsiteY2" fmla="*/ 48555 h 342001"/>
                  <a:gd name="connsiteX3" fmla="*/ 471610 w 624540"/>
                  <a:gd name="connsiteY3" fmla="*/ 77375 h 342001"/>
                  <a:gd name="connsiteX4" fmla="*/ 440169 w 624540"/>
                  <a:gd name="connsiteY4" fmla="*/ 103576 h 342001"/>
                  <a:gd name="connsiteX5" fmla="*/ 330127 w 624540"/>
                  <a:gd name="connsiteY5" fmla="*/ 129776 h 342001"/>
                  <a:gd name="connsiteX6" fmla="*/ 256765 w 624540"/>
                  <a:gd name="connsiteY6" fmla="*/ 140257 h 342001"/>
                  <a:gd name="connsiteX7" fmla="*/ 159823 w 624540"/>
                  <a:gd name="connsiteY7" fmla="*/ 192658 h 342001"/>
                  <a:gd name="connsiteX8" fmla="*/ 110042 w 624540"/>
                  <a:gd name="connsiteY8" fmla="*/ 221478 h 342001"/>
                  <a:gd name="connsiteX9" fmla="*/ 81221 w 624540"/>
                  <a:gd name="connsiteY9" fmla="*/ 271260 h 342001"/>
                  <a:gd name="connsiteX10" fmla="*/ 39301 w 624540"/>
                  <a:gd name="connsiteY10" fmla="*/ 300080 h 342001"/>
                  <a:gd name="connsiteX11" fmla="*/ 0 w 624540"/>
                  <a:gd name="connsiteY11" fmla="*/ 342001 h 342001"/>
                  <a:gd name="connsiteX0" fmla="*/ 621461 w 621461"/>
                  <a:gd name="connsiteY0" fmla="*/ 2937 h 340934"/>
                  <a:gd name="connsiteX1" fmla="*/ 558072 w 621461"/>
                  <a:gd name="connsiteY1" fmla="*/ 2947 h 340934"/>
                  <a:gd name="connsiteX2" fmla="*/ 521391 w 621461"/>
                  <a:gd name="connsiteY2" fmla="*/ 47488 h 340934"/>
                  <a:gd name="connsiteX3" fmla="*/ 471610 w 621461"/>
                  <a:gd name="connsiteY3" fmla="*/ 76308 h 340934"/>
                  <a:gd name="connsiteX4" fmla="*/ 440169 w 621461"/>
                  <a:gd name="connsiteY4" fmla="*/ 102509 h 340934"/>
                  <a:gd name="connsiteX5" fmla="*/ 330127 w 621461"/>
                  <a:gd name="connsiteY5" fmla="*/ 128709 h 340934"/>
                  <a:gd name="connsiteX6" fmla="*/ 256765 w 621461"/>
                  <a:gd name="connsiteY6" fmla="*/ 139190 h 340934"/>
                  <a:gd name="connsiteX7" fmla="*/ 159823 w 621461"/>
                  <a:gd name="connsiteY7" fmla="*/ 191591 h 340934"/>
                  <a:gd name="connsiteX8" fmla="*/ 110042 w 621461"/>
                  <a:gd name="connsiteY8" fmla="*/ 220411 h 340934"/>
                  <a:gd name="connsiteX9" fmla="*/ 81221 w 621461"/>
                  <a:gd name="connsiteY9" fmla="*/ 270193 h 340934"/>
                  <a:gd name="connsiteX10" fmla="*/ 39301 w 621461"/>
                  <a:gd name="connsiteY10" fmla="*/ 299013 h 340934"/>
                  <a:gd name="connsiteX11" fmla="*/ 0 w 621461"/>
                  <a:gd name="connsiteY11" fmla="*/ 340934 h 340934"/>
                  <a:gd name="connsiteX0" fmla="*/ 624540 w 624540"/>
                  <a:gd name="connsiteY0" fmla="*/ 0 h 350312"/>
                  <a:gd name="connsiteX1" fmla="*/ 558072 w 624540"/>
                  <a:gd name="connsiteY1" fmla="*/ 12325 h 350312"/>
                  <a:gd name="connsiteX2" fmla="*/ 521391 w 624540"/>
                  <a:gd name="connsiteY2" fmla="*/ 56866 h 350312"/>
                  <a:gd name="connsiteX3" fmla="*/ 471610 w 624540"/>
                  <a:gd name="connsiteY3" fmla="*/ 85686 h 350312"/>
                  <a:gd name="connsiteX4" fmla="*/ 440169 w 624540"/>
                  <a:gd name="connsiteY4" fmla="*/ 111887 h 350312"/>
                  <a:gd name="connsiteX5" fmla="*/ 330127 w 624540"/>
                  <a:gd name="connsiteY5" fmla="*/ 138087 h 350312"/>
                  <a:gd name="connsiteX6" fmla="*/ 256765 w 624540"/>
                  <a:gd name="connsiteY6" fmla="*/ 148568 h 350312"/>
                  <a:gd name="connsiteX7" fmla="*/ 159823 w 624540"/>
                  <a:gd name="connsiteY7" fmla="*/ 200969 h 350312"/>
                  <a:gd name="connsiteX8" fmla="*/ 110042 w 624540"/>
                  <a:gd name="connsiteY8" fmla="*/ 229789 h 350312"/>
                  <a:gd name="connsiteX9" fmla="*/ 81221 w 624540"/>
                  <a:gd name="connsiteY9" fmla="*/ 279571 h 350312"/>
                  <a:gd name="connsiteX10" fmla="*/ 39301 w 624540"/>
                  <a:gd name="connsiteY10" fmla="*/ 308391 h 350312"/>
                  <a:gd name="connsiteX11" fmla="*/ 0 w 624540"/>
                  <a:gd name="connsiteY11" fmla="*/ 350312 h 350312"/>
                  <a:gd name="connsiteX0" fmla="*/ 624540 w 624540"/>
                  <a:gd name="connsiteY0" fmla="*/ 0 h 350312"/>
                  <a:gd name="connsiteX1" fmla="*/ 558072 w 624540"/>
                  <a:gd name="connsiteY1" fmla="*/ 12325 h 350312"/>
                  <a:gd name="connsiteX2" fmla="*/ 521391 w 624540"/>
                  <a:gd name="connsiteY2" fmla="*/ 56866 h 350312"/>
                  <a:gd name="connsiteX3" fmla="*/ 471610 w 624540"/>
                  <a:gd name="connsiteY3" fmla="*/ 85686 h 350312"/>
                  <a:gd name="connsiteX4" fmla="*/ 440169 w 624540"/>
                  <a:gd name="connsiteY4" fmla="*/ 111887 h 350312"/>
                  <a:gd name="connsiteX5" fmla="*/ 330127 w 624540"/>
                  <a:gd name="connsiteY5" fmla="*/ 138087 h 350312"/>
                  <a:gd name="connsiteX6" fmla="*/ 256765 w 624540"/>
                  <a:gd name="connsiteY6" fmla="*/ 148568 h 350312"/>
                  <a:gd name="connsiteX7" fmla="*/ 159823 w 624540"/>
                  <a:gd name="connsiteY7" fmla="*/ 200969 h 350312"/>
                  <a:gd name="connsiteX8" fmla="*/ 110042 w 624540"/>
                  <a:gd name="connsiteY8" fmla="*/ 229789 h 350312"/>
                  <a:gd name="connsiteX9" fmla="*/ 81221 w 624540"/>
                  <a:gd name="connsiteY9" fmla="*/ 279571 h 350312"/>
                  <a:gd name="connsiteX10" fmla="*/ 39301 w 624540"/>
                  <a:gd name="connsiteY10" fmla="*/ 308391 h 350312"/>
                  <a:gd name="connsiteX11" fmla="*/ 0 w 624540"/>
                  <a:gd name="connsiteY11" fmla="*/ 350312 h 350312"/>
                  <a:gd name="connsiteX0" fmla="*/ 627619 w 627619"/>
                  <a:gd name="connsiteY0" fmla="*/ 925 h 342001"/>
                  <a:gd name="connsiteX1" fmla="*/ 558072 w 627619"/>
                  <a:gd name="connsiteY1" fmla="*/ 4014 h 342001"/>
                  <a:gd name="connsiteX2" fmla="*/ 521391 w 627619"/>
                  <a:gd name="connsiteY2" fmla="*/ 48555 h 342001"/>
                  <a:gd name="connsiteX3" fmla="*/ 471610 w 627619"/>
                  <a:gd name="connsiteY3" fmla="*/ 77375 h 342001"/>
                  <a:gd name="connsiteX4" fmla="*/ 440169 w 627619"/>
                  <a:gd name="connsiteY4" fmla="*/ 103576 h 342001"/>
                  <a:gd name="connsiteX5" fmla="*/ 330127 w 627619"/>
                  <a:gd name="connsiteY5" fmla="*/ 129776 h 342001"/>
                  <a:gd name="connsiteX6" fmla="*/ 256765 w 627619"/>
                  <a:gd name="connsiteY6" fmla="*/ 140257 h 342001"/>
                  <a:gd name="connsiteX7" fmla="*/ 159823 w 627619"/>
                  <a:gd name="connsiteY7" fmla="*/ 192658 h 342001"/>
                  <a:gd name="connsiteX8" fmla="*/ 110042 w 627619"/>
                  <a:gd name="connsiteY8" fmla="*/ 221478 h 342001"/>
                  <a:gd name="connsiteX9" fmla="*/ 81221 w 627619"/>
                  <a:gd name="connsiteY9" fmla="*/ 271260 h 342001"/>
                  <a:gd name="connsiteX10" fmla="*/ 39301 w 627619"/>
                  <a:gd name="connsiteY10" fmla="*/ 300080 h 342001"/>
                  <a:gd name="connsiteX11" fmla="*/ 0 w 627619"/>
                  <a:gd name="connsiteY11" fmla="*/ 342001 h 342001"/>
                  <a:gd name="connsiteX0" fmla="*/ 618382 w 618382"/>
                  <a:gd name="connsiteY0" fmla="*/ 2937 h 340934"/>
                  <a:gd name="connsiteX1" fmla="*/ 558072 w 618382"/>
                  <a:gd name="connsiteY1" fmla="*/ 2947 h 340934"/>
                  <a:gd name="connsiteX2" fmla="*/ 521391 w 618382"/>
                  <a:gd name="connsiteY2" fmla="*/ 47488 h 340934"/>
                  <a:gd name="connsiteX3" fmla="*/ 471610 w 618382"/>
                  <a:gd name="connsiteY3" fmla="*/ 76308 h 340934"/>
                  <a:gd name="connsiteX4" fmla="*/ 440169 w 618382"/>
                  <a:gd name="connsiteY4" fmla="*/ 102509 h 340934"/>
                  <a:gd name="connsiteX5" fmla="*/ 330127 w 618382"/>
                  <a:gd name="connsiteY5" fmla="*/ 128709 h 340934"/>
                  <a:gd name="connsiteX6" fmla="*/ 256765 w 618382"/>
                  <a:gd name="connsiteY6" fmla="*/ 139190 h 340934"/>
                  <a:gd name="connsiteX7" fmla="*/ 159823 w 618382"/>
                  <a:gd name="connsiteY7" fmla="*/ 191591 h 340934"/>
                  <a:gd name="connsiteX8" fmla="*/ 110042 w 618382"/>
                  <a:gd name="connsiteY8" fmla="*/ 220411 h 340934"/>
                  <a:gd name="connsiteX9" fmla="*/ 81221 w 618382"/>
                  <a:gd name="connsiteY9" fmla="*/ 270193 h 340934"/>
                  <a:gd name="connsiteX10" fmla="*/ 39301 w 618382"/>
                  <a:gd name="connsiteY10" fmla="*/ 299013 h 340934"/>
                  <a:gd name="connsiteX11" fmla="*/ 0 w 618382"/>
                  <a:gd name="connsiteY11" fmla="*/ 340934 h 3409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618382" h="340934">
                    <a:moveTo>
                      <a:pt x="618382" y="2937"/>
                    </a:moveTo>
                    <a:cubicBezTo>
                      <a:pt x="600696" y="4684"/>
                      <a:pt x="574237" y="-4478"/>
                      <a:pt x="558072" y="2947"/>
                    </a:cubicBezTo>
                    <a:cubicBezTo>
                      <a:pt x="541907" y="10372"/>
                      <a:pt x="535801" y="35261"/>
                      <a:pt x="521391" y="47488"/>
                    </a:cubicBezTo>
                    <a:cubicBezTo>
                      <a:pt x="506981" y="59715"/>
                      <a:pt x="485147" y="67138"/>
                      <a:pt x="471610" y="76308"/>
                    </a:cubicBezTo>
                    <a:cubicBezTo>
                      <a:pt x="458073" y="85478"/>
                      <a:pt x="463749" y="93776"/>
                      <a:pt x="440169" y="102509"/>
                    </a:cubicBezTo>
                    <a:cubicBezTo>
                      <a:pt x="416588" y="111243"/>
                      <a:pt x="360694" y="122596"/>
                      <a:pt x="330127" y="128709"/>
                    </a:cubicBezTo>
                    <a:cubicBezTo>
                      <a:pt x="299560" y="134823"/>
                      <a:pt x="285149" y="128710"/>
                      <a:pt x="256765" y="139190"/>
                    </a:cubicBezTo>
                    <a:cubicBezTo>
                      <a:pt x="228381" y="149670"/>
                      <a:pt x="184277" y="178054"/>
                      <a:pt x="159823" y="191591"/>
                    </a:cubicBezTo>
                    <a:cubicBezTo>
                      <a:pt x="135369" y="205128"/>
                      <a:pt x="123142" y="207311"/>
                      <a:pt x="110042" y="220411"/>
                    </a:cubicBezTo>
                    <a:cubicBezTo>
                      <a:pt x="96942" y="233511"/>
                      <a:pt x="93011" y="257093"/>
                      <a:pt x="81221" y="270193"/>
                    </a:cubicBezTo>
                    <a:cubicBezTo>
                      <a:pt x="69431" y="283293"/>
                      <a:pt x="52838" y="287223"/>
                      <a:pt x="39301" y="299013"/>
                    </a:cubicBezTo>
                    <a:cubicBezTo>
                      <a:pt x="25764" y="310803"/>
                      <a:pt x="12882" y="325868"/>
                      <a:pt x="0" y="340934"/>
                    </a:cubicBezTo>
                  </a:path>
                </a:pathLst>
              </a:custGeom>
              <a:noFill/>
              <a:ln w="50800">
                <a:solidFill>
                  <a:srgbClr val="FF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sz="1400"/>
              </a:p>
            </p:txBody>
          </p:sp>
          <p:sp>
            <p:nvSpPr>
              <p:cNvPr id="105" name="Полилиния 104"/>
              <p:cNvSpPr/>
              <p:nvPr/>
            </p:nvSpPr>
            <p:spPr>
              <a:xfrm>
                <a:off x="4381778" y="3353299"/>
                <a:ext cx="303688" cy="80707"/>
              </a:xfrm>
              <a:custGeom>
                <a:avLst/>
                <a:gdLst>
                  <a:gd name="connsiteX0" fmla="*/ 0 w 303688"/>
                  <a:gd name="connsiteY0" fmla="*/ 80707 h 80707"/>
                  <a:gd name="connsiteX1" fmla="*/ 86768 w 303688"/>
                  <a:gd name="connsiteY1" fmla="*/ 74032 h 80707"/>
                  <a:gd name="connsiteX2" fmla="*/ 143501 w 303688"/>
                  <a:gd name="connsiteY2" fmla="*/ 50672 h 80707"/>
                  <a:gd name="connsiteX3" fmla="*/ 173536 w 303688"/>
                  <a:gd name="connsiteY3" fmla="*/ 7288 h 80707"/>
                  <a:gd name="connsiteX4" fmla="*/ 233606 w 303688"/>
                  <a:gd name="connsiteY4" fmla="*/ 3951 h 80707"/>
                  <a:gd name="connsiteX5" fmla="*/ 303688 w 303688"/>
                  <a:gd name="connsiteY5" fmla="*/ 47335 h 8070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303688" h="80707">
                    <a:moveTo>
                      <a:pt x="0" y="80707"/>
                    </a:moveTo>
                    <a:cubicBezTo>
                      <a:pt x="31425" y="79872"/>
                      <a:pt x="62851" y="79038"/>
                      <a:pt x="86768" y="74032"/>
                    </a:cubicBezTo>
                    <a:cubicBezTo>
                      <a:pt x="110685" y="69026"/>
                      <a:pt x="129040" y="61796"/>
                      <a:pt x="143501" y="50672"/>
                    </a:cubicBezTo>
                    <a:cubicBezTo>
                      <a:pt x="157962" y="39548"/>
                      <a:pt x="158519" y="15075"/>
                      <a:pt x="173536" y="7288"/>
                    </a:cubicBezTo>
                    <a:cubicBezTo>
                      <a:pt x="188553" y="-499"/>
                      <a:pt x="211914" y="-2723"/>
                      <a:pt x="233606" y="3951"/>
                    </a:cubicBezTo>
                    <a:cubicBezTo>
                      <a:pt x="255298" y="10625"/>
                      <a:pt x="279493" y="28980"/>
                      <a:pt x="303688" y="47335"/>
                    </a:cubicBezTo>
                  </a:path>
                </a:pathLst>
              </a:custGeom>
              <a:noFill/>
              <a:ln w="50800">
                <a:solidFill>
                  <a:srgbClr val="00B05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sz="1400"/>
              </a:p>
            </p:txBody>
          </p:sp>
        </p:grpSp>
        <p:sp>
          <p:nvSpPr>
            <p:cNvPr id="106" name="Полилиния 105"/>
            <p:cNvSpPr/>
            <p:nvPr/>
          </p:nvSpPr>
          <p:spPr>
            <a:xfrm>
              <a:off x="2327689" y="2999483"/>
              <a:ext cx="97545" cy="56901"/>
            </a:xfrm>
            <a:custGeom>
              <a:avLst/>
              <a:gdLst>
                <a:gd name="connsiteX0" fmla="*/ 0 w 88491"/>
                <a:gd name="connsiteY0" fmla="*/ 0 h 51620"/>
                <a:gd name="connsiteX1" fmla="*/ 88491 w 88491"/>
                <a:gd name="connsiteY1" fmla="*/ 51620 h 516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8491" h="51620">
                  <a:moveTo>
                    <a:pt x="0" y="0"/>
                  </a:moveTo>
                  <a:lnTo>
                    <a:pt x="88491" y="51620"/>
                  </a:lnTo>
                </a:path>
              </a:pathLst>
            </a:custGeom>
            <a:noFill/>
            <a:ln w="25400">
              <a:solidFill>
                <a:srgbClr val="00B05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400"/>
            </a:p>
          </p:txBody>
        </p:sp>
        <p:sp>
          <p:nvSpPr>
            <p:cNvPr id="108" name="Полилиния 107"/>
            <p:cNvSpPr/>
            <p:nvPr/>
          </p:nvSpPr>
          <p:spPr>
            <a:xfrm>
              <a:off x="2707260" y="6839705"/>
              <a:ext cx="262789" cy="273588"/>
            </a:xfrm>
            <a:custGeom>
              <a:avLst/>
              <a:gdLst>
                <a:gd name="connsiteX0" fmla="*/ 0 w 238397"/>
                <a:gd name="connsiteY0" fmla="*/ 0 h 248194"/>
                <a:gd name="connsiteX1" fmla="*/ 78377 w 238397"/>
                <a:gd name="connsiteY1" fmla="*/ 62049 h 248194"/>
                <a:gd name="connsiteX2" fmla="*/ 94706 w 238397"/>
                <a:gd name="connsiteY2" fmla="*/ 81643 h 248194"/>
                <a:gd name="connsiteX3" fmla="*/ 104503 w 238397"/>
                <a:gd name="connsiteY3" fmla="*/ 107769 h 248194"/>
                <a:gd name="connsiteX4" fmla="*/ 124097 w 238397"/>
                <a:gd name="connsiteY4" fmla="*/ 114300 h 248194"/>
                <a:gd name="connsiteX5" fmla="*/ 163286 w 238397"/>
                <a:gd name="connsiteY5" fmla="*/ 166552 h 248194"/>
                <a:gd name="connsiteX6" fmla="*/ 186146 w 238397"/>
                <a:gd name="connsiteY6" fmla="*/ 192677 h 248194"/>
                <a:gd name="connsiteX7" fmla="*/ 209006 w 238397"/>
                <a:gd name="connsiteY7" fmla="*/ 205740 h 248194"/>
                <a:gd name="connsiteX8" fmla="*/ 238397 w 238397"/>
                <a:gd name="connsiteY8" fmla="*/ 248194 h 2481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38397" h="248194">
                  <a:moveTo>
                    <a:pt x="0" y="0"/>
                  </a:moveTo>
                  <a:cubicBezTo>
                    <a:pt x="31296" y="24221"/>
                    <a:pt x="62593" y="48442"/>
                    <a:pt x="78377" y="62049"/>
                  </a:cubicBezTo>
                  <a:cubicBezTo>
                    <a:pt x="94161" y="75656"/>
                    <a:pt x="90352" y="74023"/>
                    <a:pt x="94706" y="81643"/>
                  </a:cubicBezTo>
                  <a:cubicBezTo>
                    <a:pt x="99060" y="89263"/>
                    <a:pt x="99605" y="102326"/>
                    <a:pt x="104503" y="107769"/>
                  </a:cubicBezTo>
                  <a:cubicBezTo>
                    <a:pt x="109402" y="113212"/>
                    <a:pt x="114300" y="104503"/>
                    <a:pt x="124097" y="114300"/>
                  </a:cubicBezTo>
                  <a:cubicBezTo>
                    <a:pt x="133894" y="124097"/>
                    <a:pt x="152945" y="153489"/>
                    <a:pt x="163286" y="166552"/>
                  </a:cubicBezTo>
                  <a:cubicBezTo>
                    <a:pt x="173627" y="179615"/>
                    <a:pt x="178526" y="186146"/>
                    <a:pt x="186146" y="192677"/>
                  </a:cubicBezTo>
                  <a:cubicBezTo>
                    <a:pt x="193766" y="199208"/>
                    <a:pt x="200298" y="196487"/>
                    <a:pt x="209006" y="205740"/>
                  </a:cubicBezTo>
                  <a:cubicBezTo>
                    <a:pt x="217714" y="214993"/>
                    <a:pt x="228055" y="231593"/>
                    <a:pt x="238397" y="248194"/>
                  </a:cubicBezTo>
                </a:path>
              </a:pathLst>
            </a:custGeom>
            <a:noFill/>
            <a:ln w="25400">
              <a:solidFill>
                <a:srgbClr val="00B0F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400"/>
            </a:p>
          </p:txBody>
        </p:sp>
        <p:sp>
          <p:nvSpPr>
            <p:cNvPr id="109" name="Полилиния 108"/>
            <p:cNvSpPr/>
            <p:nvPr/>
          </p:nvSpPr>
          <p:spPr>
            <a:xfrm>
              <a:off x="2786457" y="6897302"/>
              <a:ext cx="39598" cy="53998"/>
            </a:xfrm>
            <a:custGeom>
              <a:avLst/>
              <a:gdLst>
                <a:gd name="connsiteX0" fmla="*/ 0 w 35923"/>
                <a:gd name="connsiteY0" fmla="*/ 0 h 48986"/>
                <a:gd name="connsiteX1" fmla="*/ 35923 w 35923"/>
                <a:gd name="connsiteY1" fmla="*/ 48986 h 489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5923" h="48986">
                  <a:moveTo>
                    <a:pt x="0" y="0"/>
                  </a:moveTo>
                  <a:lnTo>
                    <a:pt x="35923" y="48986"/>
                  </a:lnTo>
                </a:path>
              </a:pathLst>
            </a:custGeom>
            <a:noFill/>
            <a:ln w="25400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400"/>
            </a:p>
          </p:txBody>
        </p:sp>
        <p:sp>
          <p:nvSpPr>
            <p:cNvPr id="110" name="Полилиния 109"/>
            <p:cNvSpPr/>
            <p:nvPr/>
          </p:nvSpPr>
          <p:spPr>
            <a:xfrm>
              <a:off x="2851253" y="6980099"/>
              <a:ext cx="46798" cy="46798"/>
            </a:xfrm>
            <a:custGeom>
              <a:avLst/>
              <a:gdLst>
                <a:gd name="connsiteX0" fmla="*/ 0 w 42454"/>
                <a:gd name="connsiteY0" fmla="*/ 0 h 42454"/>
                <a:gd name="connsiteX1" fmla="*/ 42454 w 42454"/>
                <a:gd name="connsiteY1" fmla="*/ 42454 h 424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2454" h="42454">
                  <a:moveTo>
                    <a:pt x="0" y="0"/>
                  </a:moveTo>
                  <a:lnTo>
                    <a:pt x="42454" y="42454"/>
                  </a:lnTo>
                </a:path>
              </a:pathLst>
            </a:custGeom>
            <a:noFill/>
            <a:ln w="25400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400"/>
            </a:p>
          </p:txBody>
        </p:sp>
        <p:sp>
          <p:nvSpPr>
            <p:cNvPr id="111" name="Полилиния 110"/>
            <p:cNvSpPr/>
            <p:nvPr/>
          </p:nvSpPr>
          <p:spPr>
            <a:xfrm>
              <a:off x="3370229" y="7054097"/>
              <a:ext cx="46798" cy="46798"/>
            </a:xfrm>
            <a:custGeom>
              <a:avLst/>
              <a:gdLst>
                <a:gd name="connsiteX0" fmla="*/ 0 w 42454"/>
                <a:gd name="connsiteY0" fmla="*/ 0 h 42454"/>
                <a:gd name="connsiteX1" fmla="*/ 42454 w 42454"/>
                <a:gd name="connsiteY1" fmla="*/ 42454 h 424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2454" h="42454">
                  <a:moveTo>
                    <a:pt x="0" y="0"/>
                  </a:moveTo>
                  <a:lnTo>
                    <a:pt x="42454" y="42454"/>
                  </a:lnTo>
                </a:path>
              </a:pathLst>
            </a:custGeom>
            <a:noFill/>
            <a:ln w="25400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400"/>
            </a:p>
          </p:txBody>
        </p:sp>
        <p:sp>
          <p:nvSpPr>
            <p:cNvPr id="112" name="Овал 111"/>
            <p:cNvSpPr/>
            <p:nvPr/>
          </p:nvSpPr>
          <p:spPr>
            <a:xfrm>
              <a:off x="1725060" y="1955613"/>
              <a:ext cx="1639704" cy="1639704"/>
            </a:xfrm>
            <a:prstGeom prst="ellipse">
              <a:avLst/>
            </a:prstGeom>
            <a:solidFill>
              <a:schemeClr val="accent1">
                <a:alpha val="6000"/>
              </a:schemeClr>
            </a:solidFill>
            <a:ln w="3175">
              <a:solidFill>
                <a:schemeClr val="accent1">
                  <a:shade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400"/>
            </a:p>
          </p:txBody>
        </p:sp>
        <p:sp>
          <p:nvSpPr>
            <p:cNvPr id="113" name="Овал 112"/>
            <p:cNvSpPr/>
            <p:nvPr/>
          </p:nvSpPr>
          <p:spPr>
            <a:xfrm>
              <a:off x="4550420" y="2601075"/>
              <a:ext cx="1639704" cy="1639704"/>
            </a:xfrm>
            <a:prstGeom prst="ellipse">
              <a:avLst/>
            </a:prstGeom>
            <a:solidFill>
              <a:schemeClr val="accent1">
                <a:alpha val="6000"/>
              </a:schemeClr>
            </a:solidFill>
            <a:ln w="3175">
              <a:solidFill>
                <a:schemeClr val="accent1">
                  <a:shade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400"/>
            </a:p>
          </p:txBody>
        </p:sp>
        <p:sp>
          <p:nvSpPr>
            <p:cNvPr id="114" name="Овал 113"/>
            <p:cNvSpPr/>
            <p:nvPr/>
          </p:nvSpPr>
          <p:spPr>
            <a:xfrm rot="18677875">
              <a:off x="595623" y="962564"/>
              <a:ext cx="874484" cy="1086648"/>
            </a:xfrm>
            <a:prstGeom prst="ellipse">
              <a:avLst/>
            </a:prstGeom>
            <a:solidFill>
              <a:schemeClr val="accent1">
                <a:alpha val="6000"/>
              </a:schemeClr>
            </a:solidFill>
            <a:ln w="3175">
              <a:solidFill>
                <a:schemeClr val="accent1">
                  <a:shade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400"/>
            </a:p>
          </p:txBody>
        </p:sp>
        <p:sp>
          <p:nvSpPr>
            <p:cNvPr id="115" name="Овал 114"/>
            <p:cNvSpPr/>
            <p:nvPr/>
          </p:nvSpPr>
          <p:spPr>
            <a:xfrm rot="2458063">
              <a:off x="2555560" y="5604781"/>
              <a:ext cx="874484" cy="1510584"/>
            </a:xfrm>
            <a:prstGeom prst="ellipse">
              <a:avLst/>
            </a:prstGeom>
            <a:solidFill>
              <a:schemeClr val="accent1">
                <a:alpha val="6000"/>
              </a:schemeClr>
            </a:solidFill>
            <a:ln w="3175">
              <a:solidFill>
                <a:schemeClr val="accent1">
                  <a:shade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400"/>
            </a:p>
          </p:txBody>
        </p:sp>
        <p:grpSp>
          <p:nvGrpSpPr>
            <p:cNvPr id="116" name="Группа 115"/>
            <p:cNvGrpSpPr/>
            <p:nvPr/>
          </p:nvGrpSpPr>
          <p:grpSpPr>
            <a:xfrm>
              <a:off x="7843753" y="1077250"/>
              <a:ext cx="5112864" cy="1942747"/>
              <a:chOff x="7115552" y="977262"/>
              <a:chExt cx="4638298" cy="1762425"/>
            </a:xfrm>
          </p:grpSpPr>
          <p:sp>
            <p:nvSpPr>
              <p:cNvPr id="117" name="Скругленный прямоугольник 116"/>
              <p:cNvSpPr/>
              <p:nvPr/>
            </p:nvSpPr>
            <p:spPr>
              <a:xfrm>
                <a:off x="7182003" y="977262"/>
                <a:ext cx="4571847" cy="1762425"/>
              </a:xfrm>
              <a:prstGeom prst="roundRect">
                <a:avLst>
                  <a:gd name="adj" fmla="val 5388"/>
                </a:avLst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sz="1400"/>
              </a:p>
            </p:txBody>
          </p:sp>
          <p:sp>
            <p:nvSpPr>
              <p:cNvPr id="118" name="Прямоугольник 117"/>
              <p:cNvSpPr/>
              <p:nvPr/>
            </p:nvSpPr>
            <p:spPr>
              <a:xfrm>
                <a:off x="7135900" y="977262"/>
                <a:ext cx="3470994" cy="579086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r>
                  <a:rPr lang="ru-RU" sz="900" b="1" dirty="0">
                    <a:solidFill>
                      <a:srgbClr val="FF5100"/>
                    </a:solidFill>
                    <a:latin typeface="Calibri" panose="020F0502020204030204" pitchFamily="34" charset="0"/>
                  </a:rPr>
                  <a:t>Строительство скоростной автомобильной дороги</a:t>
                </a:r>
                <a:br>
                  <a:rPr lang="ru-RU" sz="900" b="1" dirty="0">
                    <a:solidFill>
                      <a:srgbClr val="FF5100"/>
                    </a:solidFill>
                    <a:latin typeface="Calibri" panose="020F0502020204030204" pitchFamily="34" charset="0"/>
                  </a:rPr>
                </a:br>
                <a:r>
                  <a:rPr lang="ru-RU" sz="900" b="1" dirty="0">
                    <a:solidFill>
                      <a:srgbClr val="FF5100"/>
                    </a:solidFill>
                    <a:latin typeface="Calibri" panose="020F0502020204030204" pitchFamily="34" charset="0"/>
                  </a:rPr>
                  <a:t>Москва – Нижний Новгород – Казань</a:t>
                </a:r>
                <a:br>
                  <a:rPr lang="ru-RU" sz="900" dirty="0">
                    <a:solidFill>
                      <a:srgbClr val="FF5100"/>
                    </a:solidFill>
                    <a:latin typeface="Calibri" panose="020F0502020204030204" pitchFamily="34" charset="0"/>
                  </a:rPr>
                </a:br>
                <a:r>
                  <a:rPr lang="ru-RU" sz="900" dirty="0">
                    <a:solidFill>
                      <a:srgbClr val="FF5100"/>
                    </a:solidFill>
                    <a:latin typeface="Calibri" panose="020F0502020204030204" pitchFamily="34" charset="0"/>
                  </a:rPr>
                  <a:t>(включая строительство обхода гг. Балашиха, Ногинск)</a:t>
                </a:r>
                <a:r>
                  <a:rPr lang="ru-RU" sz="900" dirty="0">
                    <a:solidFill>
                      <a:srgbClr val="FF5100"/>
                    </a:solidFill>
                  </a:rPr>
                  <a:t> </a:t>
                </a:r>
              </a:p>
            </p:txBody>
          </p:sp>
          <p:grpSp>
            <p:nvGrpSpPr>
              <p:cNvPr id="119" name="Группа 118"/>
              <p:cNvGrpSpPr/>
              <p:nvPr/>
            </p:nvGrpSpPr>
            <p:grpSpPr>
              <a:xfrm>
                <a:off x="7115552" y="1474330"/>
                <a:ext cx="2465862" cy="1238329"/>
                <a:chOff x="7182003" y="1474330"/>
                <a:chExt cx="2465862" cy="1238329"/>
              </a:xfrm>
            </p:grpSpPr>
            <p:sp>
              <p:nvSpPr>
                <p:cNvPr id="127" name="Прямоугольник 126"/>
                <p:cNvSpPr/>
                <p:nvPr/>
              </p:nvSpPr>
              <p:spPr>
                <a:xfrm>
                  <a:off x="7227688" y="1474330"/>
                  <a:ext cx="554692" cy="315870"/>
                </a:xfrm>
                <a:prstGeom prst="rect">
                  <a:avLst/>
                </a:prstGeom>
              </p:spPr>
              <p:txBody>
                <a:bodyPr wrap="square">
                  <a:spAutoFit/>
                </a:bodyPr>
                <a:lstStyle/>
                <a:p>
                  <a:pPr algn="r"/>
                  <a:r>
                    <a:rPr lang="ru-RU" sz="1200" b="1" dirty="0">
                      <a:solidFill>
                        <a:srgbClr val="000000"/>
                      </a:solidFill>
                      <a:latin typeface="Calibri" panose="020F0502020204030204" pitchFamily="34" charset="0"/>
                    </a:rPr>
                    <a:t>4</a:t>
                  </a:r>
                  <a:endParaRPr lang="ru-RU" sz="1200" b="1" dirty="0"/>
                </a:p>
              </p:txBody>
            </p:sp>
            <p:sp>
              <p:nvSpPr>
                <p:cNvPr id="128" name="Прямоугольник 127"/>
                <p:cNvSpPr/>
                <p:nvPr/>
              </p:nvSpPr>
              <p:spPr>
                <a:xfrm>
                  <a:off x="7676966" y="1520599"/>
                  <a:ext cx="1927028" cy="228129"/>
                </a:xfrm>
                <a:prstGeom prst="rect">
                  <a:avLst/>
                </a:prstGeom>
              </p:spPr>
              <p:txBody>
                <a:bodyPr wrap="none">
                  <a:spAutoFit/>
                </a:bodyPr>
                <a:lstStyle/>
                <a:p>
                  <a:r>
                    <a:rPr lang="ru-RU" sz="700" dirty="0">
                      <a:solidFill>
                        <a:srgbClr val="000000"/>
                      </a:solidFill>
                      <a:latin typeface="Calibri" panose="020F0502020204030204" pitchFamily="34" charset="0"/>
                    </a:rPr>
                    <a:t>Количество связываемых агломераций</a:t>
                  </a:r>
                  <a:endParaRPr lang="ru-RU" sz="700" dirty="0"/>
                </a:p>
              </p:txBody>
            </p:sp>
            <p:sp>
              <p:nvSpPr>
                <p:cNvPr id="129" name="Прямоугольник 128"/>
                <p:cNvSpPr/>
                <p:nvPr/>
              </p:nvSpPr>
              <p:spPr>
                <a:xfrm>
                  <a:off x="7227687" y="1672168"/>
                  <a:ext cx="554693" cy="315870"/>
                </a:xfrm>
                <a:prstGeom prst="rect">
                  <a:avLst/>
                </a:prstGeom>
              </p:spPr>
              <p:txBody>
                <a:bodyPr wrap="square">
                  <a:spAutoFit/>
                </a:bodyPr>
                <a:lstStyle/>
                <a:p>
                  <a:pPr algn="r"/>
                  <a:r>
                    <a:rPr lang="ru-RU" sz="1200" b="1" dirty="0">
                      <a:solidFill>
                        <a:srgbClr val="000000"/>
                      </a:solidFill>
                      <a:latin typeface="Calibri" panose="020F0502020204030204" pitchFamily="34" charset="0"/>
                    </a:rPr>
                    <a:t>3</a:t>
                  </a:r>
                  <a:endParaRPr lang="ru-RU" sz="1200" b="1" dirty="0"/>
                </a:p>
              </p:txBody>
            </p:sp>
            <p:sp>
              <p:nvSpPr>
                <p:cNvPr id="130" name="Прямоугольник 129"/>
                <p:cNvSpPr/>
                <p:nvPr/>
              </p:nvSpPr>
              <p:spPr>
                <a:xfrm>
                  <a:off x="7676966" y="1724176"/>
                  <a:ext cx="1970899" cy="228129"/>
                </a:xfrm>
                <a:prstGeom prst="rect">
                  <a:avLst/>
                </a:prstGeom>
              </p:spPr>
              <p:txBody>
                <a:bodyPr wrap="none">
                  <a:spAutoFit/>
                </a:bodyPr>
                <a:lstStyle/>
                <a:p>
                  <a:r>
                    <a:rPr lang="ru-RU" sz="700" dirty="0">
                      <a:solidFill>
                        <a:srgbClr val="000000"/>
                      </a:solidFill>
                      <a:latin typeface="Calibri" panose="020F0502020204030204" pitchFamily="34" charset="0"/>
                    </a:rPr>
                    <a:t>Количество связываемых центров роста</a:t>
                  </a:r>
                  <a:endParaRPr lang="ru-RU" sz="700" dirty="0"/>
                </a:p>
              </p:txBody>
            </p:sp>
            <p:sp>
              <p:nvSpPr>
                <p:cNvPr id="131" name="Прямоугольник 130"/>
                <p:cNvSpPr/>
                <p:nvPr/>
              </p:nvSpPr>
              <p:spPr>
                <a:xfrm>
                  <a:off x="7182003" y="1890228"/>
                  <a:ext cx="600378" cy="315870"/>
                </a:xfrm>
                <a:prstGeom prst="rect">
                  <a:avLst/>
                </a:prstGeom>
              </p:spPr>
              <p:txBody>
                <a:bodyPr wrap="square">
                  <a:spAutoFit/>
                </a:bodyPr>
                <a:lstStyle/>
                <a:p>
                  <a:pPr algn="r"/>
                  <a:r>
                    <a:rPr lang="ru-RU" sz="1200" b="1" dirty="0">
                      <a:solidFill>
                        <a:srgbClr val="000000"/>
                      </a:solidFill>
                      <a:latin typeface="Calibri" panose="020F0502020204030204" pitchFamily="34" charset="0"/>
                    </a:rPr>
                    <a:t>30</a:t>
                  </a:r>
                  <a:endParaRPr lang="ru-RU" sz="1200" b="1" dirty="0"/>
                </a:p>
              </p:txBody>
            </p:sp>
            <p:sp>
              <p:nvSpPr>
                <p:cNvPr id="132" name="Прямоугольник 131"/>
                <p:cNvSpPr/>
                <p:nvPr/>
              </p:nvSpPr>
              <p:spPr>
                <a:xfrm>
                  <a:off x="7676966" y="1932675"/>
                  <a:ext cx="1374987" cy="228129"/>
                </a:xfrm>
                <a:prstGeom prst="rect">
                  <a:avLst/>
                </a:prstGeom>
              </p:spPr>
              <p:txBody>
                <a:bodyPr wrap="none">
                  <a:spAutoFit/>
                </a:bodyPr>
                <a:lstStyle/>
                <a:p>
                  <a:r>
                    <a:rPr lang="ru-RU" sz="700" dirty="0">
                      <a:solidFill>
                        <a:srgbClr val="000000"/>
                      </a:solidFill>
                      <a:latin typeface="Calibri" panose="020F0502020204030204" pitchFamily="34" charset="0"/>
                    </a:rPr>
                    <a:t>Охват населения, млн чел.</a:t>
                  </a:r>
                  <a:endParaRPr lang="ru-RU" sz="700" dirty="0"/>
                </a:p>
              </p:txBody>
            </p:sp>
            <p:sp>
              <p:nvSpPr>
                <p:cNvPr id="133" name="Прямоугольник 132"/>
                <p:cNvSpPr/>
                <p:nvPr/>
              </p:nvSpPr>
              <p:spPr>
                <a:xfrm>
                  <a:off x="7232229" y="2118767"/>
                  <a:ext cx="524988" cy="315870"/>
                </a:xfrm>
                <a:prstGeom prst="rect">
                  <a:avLst/>
                </a:prstGeom>
              </p:spPr>
              <p:txBody>
                <a:bodyPr wrap="none">
                  <a:spAutoFit/>
                </a:bodyPr>
                <a:lstStyle/>
                <a:p>
                  <a:r>
                    <a:rPr lang="ru-RU" sz="1200" b="1" dirty="0">
                      <a:solidFill>
                        <a:srgbClr val="000000"/>
                      </a:solidFill>
                      <a:latin typeface="Calibri" panose="020F0502020204030204" pitchFamily="34" charset="0"/>
                    </a:rPr>
                    <a:t>26,7</a:t>
                  </a:r>
                  <a:endParaRPr lang="ru-RU" sz="1200" b="1" dirty="0"/>
                </a:p>
              </p:txBody>
            </p:sp>
            <p:sp>
              <p:nvSpPr>
                <p:cNvPr id="134" name="Прямоугольник 133"/>
                <p:cNvSpPr/>
                <p:nvPr/>
              </p:nvSpPr>
              <p:spPr>
                <a:xfrm>
                  <a:off x="7676966" y="2161264"/>
                  <a:ext cx="1888642" cy="228129"/>
                </a:xfrm>
                <a:prstGeom prst="rect">
                  <a:avLst/>
                </a:prstGeom>
              </p:spPr>
              <p:txBody>
                <a:bodyPr wrap="none">
                  <a:spAutoFit/>
                </a:bodyPr>
                <a:lstStyle/>
                <a:p>
                  <a:r>
                    <a:rPr lang="ru-RU" sz="700" dirty="0">
                      <a:solidFill>
                        <a:srgbClr val="000000"/>
                      </a:solidFill>
                      <a:latin typeface="Calibri" panose="020F0502020204030204" pitchFamily="34" charset="0"/>
                    </a:rPr>
                    <a:t>ВРП регионов прохождения, трлн руб.</a:t>
                  </a:r>
                  <a:endParaRPr lang="ru-RU" sz="700" dirty="0"/>
                </a:p>
              </p:txBody>
            </p:sp>
            <p:sp>
              <p:nvSpPr>
                <p:cNvPr id="135" name="Прямоугольник 134"/>
                <p:cNvSpPr/>
                <p:nvPr/>
              </p:nvSpPr>
              <p:spPr>
                <a:xfrm>
                  <a:off x="7676966" y="2352190"/>
                  <a:ext cx="1616277" cy="228129"/>
                </a:xfrm>
                <a:prstGeom prst="rect">
                  <a:avLst/>
                </a:prstGeom>
              </p:spPr>
              <p:txBody>
                <a:bodyPr wrap="none">
                  <a:spAutoFit/>
                </a:bodyPr>
                <a:lstStyle/>
                <a:p>
                  <a:r>
                    <a:rPr lang="ru-RU" sz="700" dirty="0"/>
                    <a:t>Сокращение времени в пути (%)</a:t>
                  </a:r>
                  <a:endParaRPr lang="ru-RU" sz="700" b="1" dirty="0"/>
                </a:p>
              </p:txBody>
            </p:sp>
            <p:sp>
              <p:nvSpPr>
                <p:cNvPr id="136" name="Прямоугольник 135"/>
                <p:cNvSpPr/>
                <p:nvPr/>
              </p:nvSpPr>
              <p:spPr>
                <a:xfrm>
                  <a:off x="7676966" y="2484530"/>
                  <a:ext cx="1831975" cy="228129"/>
                </a:xfrm>
                <a:prstGeom prst="rect">
                  <a:avLst/>
                </a:prstGeom>
              </p:spPr>
              <p:txBody>
                <a:bodyPr wrap="none">
                  <a:spAutoFit/>
                </a:bodyPr>
                <a:lstStyle/>
                <a:p>
                  <a:r>
                    <a:rPr lang="ru-RU" sz="700" dirty="0"/>
                    <a:t>от Москвы до Казани (с 12 ч до 6,5 ч)</a:t>
                  </a:r>
                </a:p>
              </p:txBody>
            </p:sp>
            <p:sp>
              <p:nvSpPr>
                <p:cNvPr id="137" name="Прямоугольник 136"/>
                <p:cNvSpPr/>
                <p:nvPr/>
              </p:nvSpPr>
              <p:spPr>
                <a:xfrm>
                  <a:off x="7247303" y="2378571"/>
                  <a:ext cx="517676" cy="315870"/>
                </a:xfrm>
                <a:prstGeom prst="rect">
                  <a:avLst/>
                </a:prstGeom>
              </p:spPr>
              <p:txBody>
                <a:bodyPr wrap="none">
                  <a:spAutoFit/>
                </a:bodyPr>
                <a:lstStyle/>
                <a:p>
                  <a:r>
                    <a:rPr lang="ru-RU" sz="1200" b="1" dirty="0">
                      <a:solidFill>
                        <a:srgbClr val="000000"/>
                      </a:solidFill>
                      <a:latin typeface="Calibri" panose="020F0502020204030204" pitchFamily="34" charset="0"/>
                    </a:rPr>
                    <a:t>46%</a:t>
                  </a:r>
                </a:p>
              </p:txBody>
            </p:sp>
          </p:grpSp>
          <p:grpSp>
            <p:nvGrpSpPr>
              <p:cNvPr id="120" name="Группа 119"/>
              <p:cNvGrpSpPr/>
              <p:nvPr/>
            </p:nvGrpSpPr>
            <p:grpSpPr>
              <a:xfrm>
                <a:off x="9822242" y="1462938"/>
                <a:ext cx="1859987" cy="1221166"/>
                <a:chOff x="9777699" y="1462938"/>
                <a:chExt cx="1859987" cy="1221166"/>
              </a:xfrm>
            </p:grpSpPr>
            <p:sp>
              <p:nvSpPr>
                <p:cNvPr id="121" name="Прямоугольник 120"/>
                <p:cNvSpPr/>
                <p:nvPr/>
              </p:nvSpPr>
              <p:spPr>
                <a:xfrm>
                  <a:off x="9777699" y="1474330"/>
                  <a:ext cx="554692" cy="315870"/>
                </a:xfrm>
                <a:prstGeom prst="rect">
                  <a:avLst/>
                </a:prstGeom>
              </p:spPr>
              <p:txBody>
                <a:bodyPr wrap="square">
                  <a:spAutoFit/>
                </a:bodyPr>
                <a:lstStyle/>
                <a:p>
                  <a:pPr algn="r"/>
                  <a:r>
                    <a:rPr lang="en-US" sz="1200" b="1" dirty="0">
                      <a:solidFill>
                        <a:srgbClr val="000000"/>
                      </a:solidFill>
                      <a:latin typeface="Calibri" panose="020F0502020204030204" pitchFamily="34" charset="0"/>
                    </a:rPr>
                    <a:t>8,7</a:t>
                  </a:r>
                  <a:endParaRPr lang="ru-RU" sz="1200" b="1" dirty="0"/>
                </a:p>
              </p:txBody>
            </p:sp>
            <p:sp>
              <p:nvSpPr>
                <p:cNvPr id="122" name="Прямоугольник 121"/>
                <p:cNvSpPr/>
                <p:nvPr/>
              </p:nvSpPr>
              <p:spPr>
                <a:xfrm>
                  <a:off x="9777699" y="1899333"/>
                  <a:ext cx="554692" cy="315870"/>
                </a:xfrm>
                <a:prstGeom prst="rect">
                  <a:avLst/>
                </a:prstGeom>
              </p:spPr>
              <p:txBody>
                <a:bodyPr wrap="square">
                  <a:spAutoFit/>
                </a:bodyPr>
                <a:lstStyle/>
                <a:p>
                  <a:pPr algn="r"/>
                  <a:r>
                    <a:rPr lang="en-US" sz="1200" b="1" dirty="0">
                      <a:solidFill>
                        <a:srgbClr val="000000"/>
                      </a:solidFill>
                      <a:latin typeface="Calibri" panose="020F0502020204030204" pitchFamily="34" charset="0"/>
                    </a:rPr>
                    <a:t>4,3</a:t>
                  </a:r>
                  <a:endParaRPr lang="ru-RU" sz="1200" b="1" dirty="0"/>
                </a:p>
              </p:txBody>
            </p:sp>
            <p:sp>
              <p:nvSpPr>
                <p:cNvPr id="123" name="Прямоугольник 122"/>
                <p:cNvSpPr/>
                <p:nvPr/>
              </p:nvSpPr>
              <p:spPr>
                <a:xfrm>
                  <a:off x="9777699" y="2343655"/>
                  <a:ext cx="554692" cy="315870"/>
                </a:xfrm>
                <a:prstGeom prst="rect">
                  <a:avLst/>
                </a:prstGeom>
              </p:spPr>
              <p:txBody>
                <a:bodyPr wrap="square">
                  <a:spAutoFit/>
                </a:bodyPr>
                <a:lstStyle/>
                <a:p>
                  <a:pPr algn="r"/>
                  <a:r>
                    <a:rPr lang="en-US" sz="1200" b="1" dirty="0">
                      <a:solidFill>
                        <a:srgbClr val="000000"/>
                      </a:solidFill>
                      <a:latin typeface="Calibri" panose="020F0502020204030204" pitchFamily="34" charset="0"/>
                    </a:rPr>
                    <a:t>31</a:t>
                  </a:r>
                  <a:endParaRPr lang="ru-RU" sz="1200" b="1" dirty="0"/>
                </a:p>
              </p:txBody>
            </p:sp>
            <p:sp>
              <p:nvSpPr>
                <p:cNvPr id="124" name="Прямоугольник 123"/>
                <p:cNvSpPr/>
                <p:nvPr/>
              </p:nvSpPr>
              <p:spPr>
                <a:xfrm>
                  <a:off x="10211402" y="1883561"/>
                  <a:ext cx="1343911" cy="350967"/>
                </a:xfrm>
                <a:prstGeom prst="rect">
                  <a:avLst/>
                </a:prstGeom>
              </p:spPr>
              <p:txBody>
                <a:bodyPr wrap="none">
                  <a:spAutoFit/>
                </a:bodyPr>
                <a:lstStyle/>
                <a:p>
                  <a:r>
                    <a:rPr lang="ru-RU" sz="700" dirty="0"/>
                    <a:t>годовой пассажиропоток,</a:t>
                  </a:r>
                  <a:endParaRPr lang="en-US" sz="700" dirty="0"/>
                </a:p>
                <a:p>
                  <a:r>
                    <a:rPr lang="ru-RU" sz="700" dirty="0"/>
                    <a:t>млн чел. (2030)</a:t>
                  </a:r>
                </a:p>
              </p:txBody>
            </p:sp>
            <p:sp>
              <p:nvSpPr>
                <p:cNvPr id="125" name="Прямоугольник 124"/>
                <p:cNvSpPr/>
                <p:nvPr/>
              </p:nvSpPr>
              <p:spPr>
                <a:xfrm>
                  <a:off x="10208621" y="2333137"/>
                  <a:ext cx="1102621" cy="350967"/>
                </a:xfrm>
                <a:prstGeom prst="rect">
                  <a:avLst/>
                </a:prstGeom>
              </p:spPr>
              <p:txBody>
                <a:bodyPr wrap="none">
                  <a:spAutoFit/>
                </a:bodyPr>
                <a:lstStyle/>
                <a:p>
                  <a:r>
                    <a:rPr lang="ru-RU" sz="700" dirty="0"/>
                    <a:t>годовой грузопоток,</a:t>
                  </a:r>
                  <a:endParaRPr lang="en-US" sz="700" dirty="0"/>
                </a:p>
                <a:p>
                  <a:r>
                    <a:rPr lang="ru-RU" sz="700" dirty="0"/>
                    <a:t>млн т. (2030)</a:t>
                  </a:r>
                </a:p>
              </p:txBody>
            </p:sp>
            <p:sp>
              <p:nvSpPr>
                <p:cNvPr id="126" name="Прямоугольник 125"/>
                <p:cNvSpPr/>
                <p:nvPr/>
              </p:nvSpPr>
              <p:spPr>
                <a:xfrm>
                  <a:off x="10213345" y="1462938"/>
                  <a:ext cx="1424341" cy="350967"/>
                </a:xfrm>
                <a:prstGeom prst="rect">
                  <a:avLst/>
                </a:prstGeom>
              </p:spPr>
              <p:txBody>
                <a:bodyPr wrap="none">
                  <a:spAutoFit/>
                </a:bodyPr>
                <a:lstStyle/>
                <a:p>
                  <a:r>
                    <a:rPr lang="ru-RU" sz="700" dirty="0">
                      <a:solidFill>
                        <a:srgbClr val="000000"/>
                      </a:solidFill>
                      <a:latin typeface="Calibri" panose="020F0502020204030204" pitchFamily="34" charset="0"/>
                    </a:rPr>
                    <a:t>интенсивность движения,</a:t>
                  </a:r>
                  <a:endParaRPr lang="en-US" sz="700" dirty="0">
                    <a:solidFill>
                      <a:srgbClr val="000000"/>
                    </a:solidFill>
                    <a:latin typeface="Calibri" panose="020F0502020204030204" pitchFamily="34" charset="0"/>
                  </a:endParaRPr>
                </a:p>
                <a:p>
                  <a:r>
                    <a:rPr lang="ru-RU" sz="700" dirty="0">
                      <a:solidFill>
                        <a:srgbClr val="000000"/>
                      </a:solidFill>
                      <a:latin typeface="Calibri" panose="020F0502020204030204" pitchFamily="34" charset="0"/>
                    </a:rPr>
                    <a:t>млн </a:t>
                  </a:r>
                  <a:r>
                    <a:rPr lang="ru-RU" sz="700" dirty="0" err="1">
                      <a:solidFill>
                        <a:srgbClr val="000000"/>
                      </a:solidFill>
                      <a:latin typeface="Calibri" panose="020F0502020204030204" pitchFamily="34" charset="0"/>
                    </a:rPr>
                    <a:t>прив</a:t>
                  </a:r>
                  <a:r>
                    <a:rPr lang="ru-RU" sz="700" dirty="0">
                      <a:solidFill>
                        <a:srgbClr val="000000"/>
                      </a:solidFill>
                      <a:latin typeface="Calibri" panose="020F0502020204030204" pitchFamily="34" charset="0"/>
                    </a:rPr>
                    <a:t>. авто. в год (2030)</a:t>
                  </a:r>
                  <a:endParaRPr lang="ru-RU" sz="700" dirty="0"/>
                </a:p>
              </p:txBody>
            </p:sp>
          </p:grpSp>
        </p:grpSp>
        <p:grpSp>
          <p:nvGrpSpPr>
            <p:cNvPr id="138" name="Группа 137"/>
            <p:cNvGrpSpPr/>
            <p:nvPr/>
          </p:nvGrpSpPr>
          <p:grpSpPr>
            <a:xfrm>
              <a:off x="7843756" y="3104120"/>
              <a:ext cx="5112866" cy="1774947"/>
              <a:chOff x="7115552" y="2816001"/>
              <a:chExt cx="4638298" cy="1610199"/>
            </a:xfrm>
          </p:grpSpPr>
          <p:sp>
            <p:nvSpPr>
              <p:cNvPr id="139" name="Скругленный прямоугольник 138"/>
              <p:cNvSpPr/>
              <p:nvPr/>
            </p:nvSpPr>
            <p:spPr>
              <a:xfrm>
                <a:off x="7182003" y="2816001"/>
                <a:ext cx="4571847" cy="1610199"/>
              </a:xfrm>
              <a:prstGeom prst="roundRect">
                <a:avLst>
                  <a:gd name="adj" fmla="val 5388"/>
                </a:avLst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sz="1400"/>
              </a:p>
            </p:txBody>
          </p:sp>
          <p:sp>
            <p:nvSpPr>
              <p:cNvPr id="140" name="Прямоугольник 139"/>
              <p:cNvSpPr/>
              <p:nvPr/>
            </p:nvSpPr>
            <p:spPr>
              <a:xfrm>
                <a:off x="7135900" y="2816001"/>
                <a:ext cx="3470993" cy="421153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r>
                  <a:rPr lang="ru-RU" sz="900" b="1" dirty="0">
                    <a:solidFill>
                      <a:srgbClr val="FF5100"/>
                    </a:solidFill>
                    <a:latin typeface="Calibri" panose="020F0502020204030204" pitchFamily="34" charset="0"/>
                  </a:rPr>
                  <a:t>Строительство скоростной автомобильной дороги Казань - Екатеринбург </a:t>
                </a:r>
                <a:endParaRPr lang="ru-RU" sz="900" dirty="0">
                  <a:solidFill>
                    <a:srgbClr val="FF5100"/>
                  </a:solidFill>
                </a:endParaRPr>
              </a:p>
            </p:txBody>
          </p:sp>
          <p:grpSp>
            <p:nvGrpSpPr>
              <p:cNvPr id="141" name="Группа 140"/>
              <p:cNvGrpSpPr/>
              <p:nvPr/>
            </p:nvGrpSpPr>
            <p:grpSpPr>
              <a:xfrm>
                <a:off x="7115552" y="3154879"/>
                <a:ext cx="2584678" cy="1238329"/>
                <a:chOff x="7182003" y="3154879"/>
                <a:chExt cx="2584678" cy="1238329"/>
              </a:xfrm>
            </p:grpSpPr>
            <p:sp>
              <p:nvSpPr>
                <p:cNvPr id="149" name="Прямоугольник 148"/>
                <p:cNvSpPr/>
                <p:nvPr/>
              </p:nvSpPr>
              <p:spPr>
                <a:xfrm>
                  <a:off x="7227688" y="3154879"/>
                  <a:ext cx="554692" cy="315870"/>
                </a:xfrm>
                <a:prstGeom prst="rect">
                  <a:avLst/>
                </a:prstGeom>
              </p:spPr>
              <p:txBody>
                <a:bodyPr wrap="square">
                  <a:spAutoFit/>
                </a:bodyPr>
                <a:lstStyle/>
                <a:p>
                  <a:pPr algn="r"/>
                  <a:r>
                    <a:rPr lang="ru-RU" sz="1200" b="1" dirty="0">
                      <a:solidFill>
                        <a:srgbClr val="000000"/>
                      </a:solidFill>
                      <a:latin typeface="Calibri" panose="020F0502020204030204" pitchFamily="34" charset="0"/>
                    </a:rPr>
                    <a:t>2</a:t>
                  </a:r>
                  <a:endParaRPr lang="ru-RU" sz="1200" b="1" dirty="0"/>
                </a:p>
              </p:txBody>
            </p:sp>
            <p:sp>
              <p:nvSpPr>
                <p:cNvPr id="150" name="Прямоугольник 149"/>
                <p:cNvSpPr/>
                <p:nvPr/>
              </p:nvSpPr>
              <p:spPr>
                <a:xfrm>
                  <a:off x="7676964" y="3201148"/>
                  <a:ext cx="1927028" cy="228129"/>
                </a:xfrm>
                <a:prstGeom prst="rect">
                  <a:avLst/>
                </a:prstGeom>
              </p:spPr>
              <p:txBody>
                <a:bodyPr wrap="none">
                  <a:spAutoFit/>
                </a:bodyPr>
                <a:lstStyle/>
                <a:p>
                  <a:r>
                    <a:rPr lang="ru-RU" sz="700" dirty="0">
                      <a:solidFill>
                        <a:srgbClr val="000000"/>
                      </a:solidFill>
                      <a:latin typeface="Calibri" panose="020F0502020204030204" pitchFamily="34" charset="0"/>
                    </a:rPr>
                    <a:t>Количество связываемых агломераций</a:t>
                  </a:r>
                  <a:endParaRPr lang="ru-RU" sz="700" dirty="0"/>
                </a:p>
              </p:txBody>
            </p:sp>
            <p:sp>
              <p:nvSpPr>
                <p:cNvPr id="151" name="Прямоугольник 150"/>
                <p:cNvSpPr/>
                <p:nvPr/>
              </p:nvSpPr>
              <p:spPr>
                <a:xfrm>
                  <a:off x="7227687" y="3352717"/>
                  <a:ext cx="554693" cy="315870"/>
                </a:xfrm>
                <a:prstGeom prst="rect">
                  <a:avLst/>
                </a:prstGeom>
              </p:spPr>
              <p:txBody>
                <a:bodyPr wrap="square">
                  <a:spAutoFit/>
                </a:bodyPr>
                <a:lstStyle/>
                <a:p>
                  <a:pPr algn="r"/>
                  <a:r>
                    <a:rPr lang="ru-RU" sz="1200" b="1" dirty="0">
                      <a:solidFill>
                        <a:srgbClr val="000000"/>
                      </a:solidFill>
                      <a:latin typeface="Calibri" panose="020F0502020204030204" pitchFamily="34" charset="0"/>
                    </a:rPr>
                    <a:t>2</a:t>
                  </a:r>
                  <a:endParaRPr lang="ru-RU" sz="1200" b="1" dirty="0"/>
                </a:p>
              </p:txBody>
            </p:sp>
            <p:sp>
              <p:nvSpPr>
                <p:cNvPr id="152" name="Прямоугольник 151"/>
                <p:cNvSpPr/>
                <p:nvPr/>
              </p:nvSpPr>
              <p:spPr>
                <a:xfrm>
                  <a:off x="7676966" y="3404725"/>
                  <a:ext cx="1970898" cy="228129"/>
                </a:xfrm>
                <a:prstGeom prst="rect">
                  <a:avLst/>
                </a:prstGeom>
              </p:spPr>
              <p:txBody>
                <a:bodyPr wrap="none">
                  <a:spAutoFit/>
                </a:bodyPr>
                <a:lstStyle/>
                <a:p>
                  <a:r>
                    <a:rPr lang="ru-RU" sz="700" dirty="0">
                      <a:solidFill>
                        <a:srgbClr val="000000"/>
                      </a:solidFill>
                      <a:latin typeface="Calibri" panose="020F0502020204030204" pitchFamily="34" charset="0"/>
                    </a:rPr>
                    <a:t>Количество связываемых центров роста</a:t>
                  </a:r>
                  <a:endParaRPr lang="ru-RU" sz="700" dirty="0"/>
                </a:p>
              </p:txBody>
            </p:sp>
            <p:sp>
              <p:nvSpPr>
                <p:cNvPr id="153" name="Прямоугольник 152"/>
                <p:cNvSpPr/>
                <p:nvPr/>
              </p:nvSpPr>
              <p:spPr>
                <a:xfrm>
                  <a:off x="7182003" y="3570777"/>
                  <a:ext cx="600378" cy="315870"/>
                </a:xfrm>
                <a:prstGeom prst="rect">
                  <a:avLst/>
                </a:prstGeom>
              </p:spPr>
              <p:txBody>
                <a:bodyPr wrap="square">
                  <a:spAutoFit/>
                </a:bodyPr>
                <a:lstStyle/>
                <a:p>
                  <a:pPr algn="r"/>
                  <a:r>
                    <a:rPr lang="ru-RU" sz="1200" b="1" dirty="0">
                      <a:solidFill>
                        <a:srgbClr val="000000"/>
                      </a:solidFill>
                      <a:latin typeface="Calibri" panose="020F0502020204030204" pitchFamily="34" charset="0"/>
                    </a:rPr>
                    <a:t>14,9</a:t>
                  </a:r>
                  <a:endParaRPr lang="ru-RU" sz="1200" b="1" dirty="0"/>
                </a:p>
              </p:txBody>
            </p:sp>
            <p:sp>
              <p:nvSpPr>
                <p:cNvPr id="154" name="Прямоугольник 153"/>
                <p:cNvSpPr/>
                <p:nvPr/>
              </p:nvSpPr>
              <p:spPr>
                <a:xfrm>
                  <a:off x="7676966" y="3613224"/>
                  <a:ext cx="1374986" cy="228129"/>
                </a:xfrm>
                <a:prstGeom prst="rect">
                  <a:avLst/>
                </a:prstGeom>
              </p:spPr>
              <p:txBody>
                <a:bodyPr wrap="none">
                  <a:spAutoFit/>
                </a:bodyPr>
                <a:lstStyle/>
                <a:p>
                  <a:r>
                    <a:rPr lang="ru-RU" sz="700" dirty="0">
                      <a:solidFill>
                        <a:srgbClr val="000000"/>
                      </a:solidFill>
                      <a:latin typeface="Calibri" panose="020F0502020204030204" pitchFamily="34" charset="0"/>
                    </a:rPr>
                    <a:t>Охват населения, млн чел.</a:t>
                  </a:r>
                  <a:endParaRPr lang="ru-RU" sz="700" dirty="0"/>
                </a:p>
              </p:txBody>
            </p:sp>
            <p:sp>
              <p:nvSpPr>
                <p:cNvPr id="155" name="Прямоугольник 154"/>
                <p:cNvSpPr/>
                <p:nvPr/>
              </p:nvSpPr>
              <p:spPr>
                <a:xfrm>
                  <a:off x="7327727" y="3799316"/>
                  <a:ext cx="454653" cy="315870"/>
                </a:xfrm>
                <a:prstGeom prst="rect">
                  <a:avLst/>
                </a:prstGeom>
              </p:spPr>
              <p:txBody>
                <a:bodyPr wrap="square">
                  <a:spAutoFit/>
                </a:bodyPr>
                <a:lstStyle/>
                <a:p>
                  <a:pPr algn="r"/>
                  <a:r>
                    <a:rPr lang="ru-RU" sz="1200" b="1" dirty="0">
                      <a:solidFill>
                        <a:srgbClr val="000000"/>
                      </a:solidFill>
                      <a:latin typeface="Calibri" panose="020F0502020204030204" pitchFamily="34" charset="0"/>
                    </a:rPr>
                    <a:t>7,7</a:t>
                  </a:r>
                  <a:endParaRPr lang="ru-RU" sz="1200" b="1" dirty="0"/>
                </a:p>
              </p:txBody>
            </p:sp>
            <p:sp>
              <p:nvSpPr>
                <p:cNvPr id="156" name="Прямоугольник 155"/>
                <p:cNvSpPr/>
                <p:nvPr/>
              </p:nvSpPr>
              <p:spPr>
                <a:xfrm>
                  <a:off x="7676966" y="3841813"/>
                  <a:ext cx="1888641" cy="228129"/>
                </a:xfrm>
                <a:prstGeom prst="rect">
                  <a:avLst/>
                </a:prstGeom>
              </p:spPr>
              <p:txBody>
                <a:bodyPr wrap="none">
                  <a:spAutoFit/>
                </a:bodyPr>
                <a:lstStyle/>
                <a:p>
                  <a:r>
                    <a:rPr lang="ru-RU" sz="700" dirty="0">
                      <a:solidFill>
                        <a:srgbClr val="000000"/>
                      </a:solidFill>
                      <a:latin typeface="Calibri" panose="020F0502020204030204" pitchFamily="34" charset="0"/>
                    </a:rPr>
                    <a:t>ВРП регионов прохождения, трлн руб.</a:t>
                  </a:r>
                  <a:endParaRPr lang="ru-RU" sz="700" dirty="0"/>
                </a:p>
              </p:txBody>
            </p:sp>
            <p:sp>
              <p:nvSpPr>
                <p:cNvPr id="157" name="Прямоугольник 156"/>
                <p:cNvSpPr/>
                <p:nvPr/>
              </p:nvSpPr>
              <p:spPr>
                <a:xfrm>
                  <a:off x="7676966" y="4032739"/>
                  <a:ext cx="2089715" cy="228129"/>
                </a:xfrm>
                <a:prstGeom prst="rect">
                  <a:avLst/>
                </a:prstGeom>
              </p:spPr>
              <p:txBody>
                <a:bodyPr wrap="none">
                  <a:spAutoFit/>
                </a:bodyPr>
                <a:lstStyle/>
                <a:p>
                  <a:r>
                    <a:rPr lang="ru-RU" sz="700" dirty="0"/>
                    <a:t>Сокращение времени в пути (%)</a:t>
                  </a:r>
                  <a:r>
                    <a:rPr lang="en-US" sz="700" dirty="0"/>
                    <a:t> </a:t>
                  </a:r>
                  <a:r>
                    <a:rPr lang="ru-RU" sz="700" dirty="0"/>
                    <a:t>от Казани </a:t>
                  </a:r>
                  <a:endParaRPr lang="ru-RU" sz="700" b="1" dirty="0"/>
                </a:p>
              </p:txBody>
            </p:sp>
            <p:sp>
              <p:nvSpPr>
                <p:cNvPr id="158" name="Прямоугольник 157"/>
                <p:cNvSpPr/>
                <p:nvPr/>
              </p:nvSpPr>
              <p:spPr>
                <a:xfrm>
                  <a:off x="7676964" y="4165079"/>
                  <a:ext cx="1698533" cy="228129"/>
                </a:xfrm>
                <a:prstGeom prst="rect">
                  <a:avLst/>
                </a:prstGeom>
              </p:spPr>
              <p:txBody>
                <a:bodyPr wrap="none">
                  <a:spAutoFit/>
                </a:bodyPr>
                <a:lstStyle/>
                <a:p>
                  <a:r>
                    <a:rPr lang="ru-RU" sz="700" dirty="0"/>
                    <a:t>до Екатеринбурга (с 14 ч до 7-8 ч) </a:t>
                  </a:r>
                  <a:endParaRPr lang="ru-RU" sz="700" b="1" dirty="0"/>
                </a:p>
              </p:txBody>
            </p:sp>
            <p:sp>
              <p:nvSpPr>
                <p:cNvPr id="159" name="Прямоугольник 158"/>
                <p:cNvSpPr/>
                <p:nvPr/>
              </p:nvSpPr>
              <p:spPr>
                <a:xfrm>
                  <a:off x="7247303" y="4059120"/>
                  <a:ext cx="517676" cy="315870"/>
                </a:xfrm>
                <a:prstGeom prst="rect">
                  <a:avLst/>
                </a:prstGeom>
              </p:spPr>
              <p:txBody>
                <a:bodyPr wrap="none">
                  <a:spAutoFit/>
                </a:bodyPr>
                <a:lstStyle/>
                <a:p>
                  <a:r>
                    <a:rPr lang="ru-RU" sz="1200" b="1" dirty="0">
                      <a:solidFill>
                        <a:srgbClr val="000000"/>
                      </a:solidFill>
                      <a:latin typeface="Calibri" panose="020F0502020204030204" pitchFamily="34" charset="0"/>
                    </a:rPr>
                    <a:t>45%</a:t>
                  </a:r>
                </a:p>
              </p:txBody>
            </p:sp>
          </p:grpSp>
          <p:grpSp>
            <p:nvGrpSpPr>
              <p:cNvPr id="142" name="Группа 141"/>
              <p:cNvGrpSpPr/>
              <p:nvPr/>
            </p:nvGrpSpPr>
            <p:grpSpPr>
              <a:xfrm>
                <a:off x="9817861" y="3143630"/>
                <a:ext cx="1859987" cy="1221166"/>
                <a:chOff x="9777699" y="1462938"/>
                <a:chExt cx="1859987" cy="1221166"/>
              </a:xfrm>
            </p:grpSpPr>
            <p:sp>
              <p:nvSpPr>
                <p:cNvPr id="143" name="Прямоугольник 142"/>
                <p:cNvSpPr/>
                <p:nvPr/>
              </p:nvSpPr>
              <p:spPr>
                <a:xfrm>
                  <a:off x="9777699" y="1474330"/>
                  <a:ext cx="554692" cy="315870"/>
                </a:xfrm>
                <a:prstGeom prst="rect">
                  <a:avLst/>
                </a:prstGeom>
              </p:spPr>
              <p:txBody>
                <a:bodyPr wrap="square">
                  <a:spAutoFit/>
                </a:bodyPr>
                <a:lstStyle/>
                <a:p>
                  <a:pPr algn="r"/>
                  <a:r>
                    <a:rPr lang="en-US" sz="1200" b="1" dirty="0">
                      <a:solidFill>
                        <a:srgbClr val="000000"/>
                      </a:solidFill>
                      <a:latin typeface="Calibri" panose="020F0502020204030204" pitchFamily="34" charset="0"/>
                    </a:rPr>
                    <a:t>5,9</a:t>
                  </a:r>
                  <a:endParaRPr lang="ru-RU" sz="1200" b="1" dirty="0"/>
                </a:p>
              </p:txBody>
            </p:sp>
            <p:sp>
              <p:nvSpPr>
                <p:cNvPr id="144" name="Прямоугольник 143"/>
                <p:cNvSpPr/>
                <p:nvPr/>
              </p:nvSpPr>
              <p:spPr>
                <a:xfrm>
                  <a:off x="9777699" y="1899333"/>
                  <a:ext cx="554692" cy="315870"/>
                </a:xfrm>
                <a:prstGeom prst="rect">
                  <a:avLst/>
                </a:prstGeom>
              </p:spPr>
              <p:txBody>
                <a:bodyPr wrap="square">
                  <a:spAutoFit/>
                </a:bodyPr>
                <a:lstStyle/>
                <a:p>
                  <a:pPr algn="r"/>
                  <a:r>
                    <a:rPr lang="en-US" sz="1200" b="1" dirty="0">
                      <a:solidFill>
                        <a:srgbClr val="000000"/>
                      </a:solidFill>
                      <a:latin typeface="Calibri" panose="020F0502020204030204" pitchFamily="34" charset="0"/>
                    </a:rPr>
                    <a:t>7,6</a:t>
                  </a:r>
                  <a:endParaRPr lang="ru-RU" sz="1200" b="1" dirty="0"/>
                </a:p>
              </p:txBody>
            </p:sp>
            <p:sp>
              <p:nvSpPr>
                <p:cNvPr id="145" name="Прямоугольник 144"/>
                <p:cNvSpPr/>
                <p:nvPr/>
              </p:nvSpPr>
              <p:spPr>
                <a:xfrm>
                  <a:off x="9777699" y="2343655"/>
                  <a:ext cx="554692" cy="315870"/>
                </a:xfrm>
                <a:prstGeom prst="rect">
                  <a:avLst/>
                </a:prstGeom>
              </p:spPr>
              <p:txBody>
                <a:bodyPr wrap="square">
                  <a:spAutoFit/>
                </a:bodyPr>
                <a:lstStyle/>
                <a:p>
                  <a:pPr algn="r"/>
                  <a:r>
                    <a:rPr lang="en-US" sz="1200" b="1" dirty="0">
                      <a:solidFill>
                        <a:srgbClr val="000000"/>
                      </a:solidFill>
                      <a:latin typeface="Calibri" panose="020F0502020204030204" pitchFamily="34" charset="0"/>
                    </a:rPr>
                    <a:t>12,4</a:t>
                  </a:r>
                  <a:endParaRPr lang="ru-RU" sz="1200" b="1" dirty="0"/>
                </a:p>
              </p:txBody>
            </p:sp>
            <p:sp>
              <p:nvSpPr>
                <p:cNvPr id="146" name="Прямоугольник 145"/>
                <p:cNvSpPr/>
                <p:nvPr/>
              </p:nvSpPr>
              <p:spPr>
                <a:xfrm>
                  <a:off x="10211402" y="1883564"/>
                  <a:ext cx="1343910" cy="350967"/>
                </a:xfrm>
                <a:prstGeom prst="rect">
                  <a:avLst/>
                </a:prstGeom>
              </p:spPr>
              <p:txBody>
                <a:bodyPr wrap="none">
                  <a:spAutoFit/>
                </a:bodyPr>
                <a:lstStyle/>
                <a:p>
                  <a:r>
                    <a:rPr lang="ru-RU" sz="700" dirty="0"/>
                    <a:t>годовой пассажиропоток,</a:t>
                  </a:r>
                  <a:endParaRPr lang="en-US" sz="700" dirty="0"/>
                </a:p>
                <a:p>
                  <a:r>
                    <a:rPr lang="ru-RU" sz="700" dirty="0"/>
                    <a:t>млн чел. (2030)</a:t>
                  </a:r>
                </a:p>
              </p:txBody>
            </p:sp>
            <p:sp>
              <p:nvSpPr>
                <p:cNvPr id="147" name="Прямоугольник 146"/>
                <p:cNvSpPr/>
                <p:nvPr/>
              </p:nvSpPr>
              <p:spPr>
                <a:xfrm>
                  <a:off x="10208620" y="2333137"/>
                  <a:ext cx="1102621" cy="350967"/>
                </a:xfrm>
                <a:prstGeom prst="rect">
                  <a:avLst/>
                </a:prstGeom>
              </p:spPr>
              <p:txBody>
                <a:bodyPr wrap="none">
                  <a:spAutoFit/>
                </a:bodyPr>
                <a:lstStyle/>
                <a:p>
                  <a:r>
                    <a:rPr lang="ru-RU" sz="700" dirty="0"/>
                    <a:t>годовой грузопоток,</a:t>
                  </a:r>
                  <a:endParaRPr lang="en-US" sz="700" dirty="0"/>
                </a:p>
                <a:p>
                  <a:r>
                    <a:rPr lang="ru-RU" sz="700" dirty="0"/>
                    <a:t>млн т. (2030)</a:t>
                  </a:r>
                </a:p>
              </p:txBody>
            </p:sp>
            <p:sp>
              <p:nvSpPr>
                <p:cNvPr id="148" name="Прямоугольник 147"/>
                <p:cNvSpPr/>
                <p:nvPr/>
              </p:nvSpPr>
              <p:spPr>
                <a:xfrm>
                  <a:off x="10213345" y="1462938"/>
                  <a:ext cx="1424341" cy="350967"/>
                </a:xfrm>
                <a:prstGeom prst="rect">
                  <a:avLst/>
                </a:prstGeom>
              </p:spPr>
              <p:txBody>
                <a:bodyPr wrap="none">
                  <a:spAutoFit/>
                </a:bodyPr>
                <a:lstStyle/>
                <a:p>
                  <a:r>
                    <a:rPr lang="ru-RU" sz="700" dirty="0">
                      <a:solidFill>
                        <a:srgbClr val="000000"/>
                      </a:solidFill>
                      <a:latin typeface="Calibri" panose="020F0502020204030204" pitchFamily="34" charset="0"/>
                    </a:rPr>
                    <a:t>интенсивность движения,</a:t>
                  </a:r>
                  <a:endParaRPr lang="en-US" sz="700" dirty="0">
                    <a:solidFill>
                      <a:srgbClr val="000000"/>
                    </a:solidFill>
                    <a:latin typeface="Calibri" panose="020F0502020204030204" pitchFamily="34" charset="0"/>
                  </a:endParaRPr>
                </a:p>
                <a:p>
                  <a:r>
                    <a:rPr lang="ru-RU" sz="700" dirty="0">
                      <a:solidFill>
                        <a:srgbClr val="000000"/>
                      </a:solidFill>
                      <a:latin typeface="Calibri" panose="020F0502020204030204" pitchFamily="34" charset="0"/>
                    </a:rPr>
                    <a:t>млн </a:t>
                  </a:r>
                  <a:r>
                    <a:rPr lang="ru-RU" sz="700" dirty="0" err="1">
                      <a:solidFill>
                        <a:srgbClr val="000000"/>
                      </a:solidFill>
                      <a:latin typeface="Calibri" panose="020F0502020204030204" pitchFamily="34" charset="0"/>
                    </a:rPr>
                    <a:t>прив</a:t>
                  </a:r>
                  <a:r>
                    <a:rPr lang="ru-RU" sz="700" dirty="0">
                      <a:solidFill>
                        <a:srgbClr val="000000"/>
                      </a:solidFill>
                      <a:latin typeface="Calibri" panose="020F0502020204030204" pitchFamily="34" charset="0"/>
                    </a:rPr>
                    <a:t>. авто. в год (2030)</a:t>
                  </a:r>
                  <a:endParaRPr lang="ru-RU" sz="700" dirty="0"/>
                </a:p>
              </p:txBody>
            </p:sp>
          </p:grpSp>
        </p:grpSp>
        <p:grpSp>
          <p:nvGrpSpPr>
            <p:cNvPr id="160" name="Группа 159"/>
            <p:cNvGrpSpPr/>
            <p:nvPr/>
          </p:nvGrpSpPr>
          <p:grpSpPr>
            <a:xfrm>
              <a:off x="7843756" y="4963189"/>
              <a:ext cx="5112866" cy="2110548"/>
              <a:chOff x="7115552" y="4502515"/>
              <a:chExt cx="4638298" cy="1914651"/>
            </a:xfrm>
          </p:grpSpPr>
          <p:sp>
            <p:nvSpPr>
              <p:cNvPr id="161" name="Скругленный прямоугольник 160"/>
              <p:cNvSpPr/>
              <p:nvPr/>
            </p:nvSpPr>
            <p:spPr>
              <a:xfrm>
                <a:off x="7182002" y="4502515"/>
                <a:ext cx="4571848" cy="1914651"/>
              </a:xfrm>
              <a:prstGeom prst="roundRect">
                <a:avLst>
                  <a:gd name="adj" fmla="val 5388"/>
                </a:avLst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sz="1400"/>
              </a:p>
            </p:txBody>
          </p:sp>
          <p:sp>
            <p:nvSpPr>
              <p:cNvPr id="162" name="Прямоугольник 161"/>
              <p:cNvSpPr/>
              <p:nvPr/>
            </p:nvSpPr>
            <p:spPr>
              <a:xfrm>
                <a:off x="7135900" y="4566064"/>
                <a:ext cx="4495905" cy="579086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r>
                  <a:rPr lang="ru-RU" sz="900" b="1" dirty="0">
                    <a:solidFill>
                      <a:srgbClr val="FF5100"/>
                    </a:solidFill>
                    <a:latin typeface="Calibri" panose="020F0502020204030204" pitchFamily="34" charset="0"/>
                  </a:rPr>
                  <a:t>Строительство скоростной автомобильной дороги Набережные Челны - Альметьевск - Самара –</a:t>
                </a:r>
                <a:r>
                  <a:rPr lang="en-US" sz="900" b="1" dirty="0">
                    <a:solidFill>
                      <a:srgbClr val="FF5100"/>
                    </a:solidFill>
                    <a:latin typeface="Calibri" panose="020F0502020204030204" pitchFamily="34" charset="0"/>
                  </a:rPr>
                  <a:t> </a:t>
                </a:r>
                <a:r>
                  <a:rPr lang="ru-RU" sz="900" b="1" dirty="0">
                    <a:solidFill>
                      <a:srgbClr val="FF5100"/>
                    </a:solidFill>
                    <a:latin typeface="Calibri" panose="020F0502020204030204" pitchFamily="34" charset="0"/>
                  </a:rPr>
                  <a:t>Саратов (по левому берегу Волги) – Волгоград</a:t>
                </a:r>
                <a:br>
                  <a:rPr lang="ru-RU" sz="900" b="1" dirty="0">
                    <a:solidFill>
                      <a:srgbClr val="FF5100"/>
                    </a:solidFill>
                    <a:latin typeface="Calibri" panose="020F0502020204030204" pitchFamily="34" charset="0"/>
                  </a:rPr>
                </a:br>
                <a:r>
                  <a:rPr lang="ru-RU" sz="900" b="1" dirty="0">
                    <a:solidFill>
                      <a:srgbClr val="FF5100"/>
                    </a:solidFill>
                    <a:latin typeface="Calibri" panose="020F0502020204030204" pitchFamily="34" charset="0"/>
                  </a:rPr>
                  <a:t>и Волгоград - Краснодар</a:t>
                </a:r>
                <a:endParaRPr lang="ru-RU" sz="900" dirty="0">
                  <a:solidFill>
                    <a:srgbClr val="FF5100"/>
                  </a:solidFill>
                </a:endParaRPr>
              </a:p>
            </p:txBody>
          </p:sp>
          <p:grpSp>
            <p:nvGrpSpPr>
              <p:cNvPr id="163" name="Группа 162"/>
              <p:cNvGrpSpPr/>
              <p:nvPr/>
            </p:nvGrpSpPr>
            <p:grpSpPr>
              <a:xfrm>
                <a:off x="7115552" y="5151807"/>
                <a:ext cx="2814997" cy="1238329"/>
                <a:chOff x="7182003" y="5151807"/>
                <a:chExt cx="2814997" cy="1238329"/>
              </a:xfrm>
            </p:grpSpPr>
            <p:sp>
              <p:nvSpPr>
                <p:cNvPr id="171" name="Прямоугольник 170"/>
                <p:cNvSpPr/>
                <p:nvPr/>
              </p:nvSpPr>
              <p:spPr>
                <a:xfrm>
                  <a:off x="7227688" y="5151807"/>
                  <a:ext cx="554692" cy="315870"/>
                </a:xfrm>
                <a:prstGeom prst="rect">
                  <a:avLst/>
                </a:prstGeom>
              </p:spPr>
              <p:txBody>
                <a:bodyPr wrap="square">
                  <a:spAutoFit/>
                </a:bodyPr>
                <a:lstStyle/>
                <a:p>
                  <a:pPr algn="r"/>
                  <a:r>
                    <a:rPr lang="ru-RU" sz="1200" b="1" dirty="0">
                      <a:solidFill>
                        <a:srgbClr val="000000"/>
                      </a:solidFill>
                      <a:latin typeface="Calibri" panose="020F0502020204030204" pitchFamily="34" charset="0"/>
                    </a:rPr>
                    <a:t>5</a:t>
                  </a:r>
                  <a:endParaRPr lang="ru-RU" sz="1200" b="1" dirty="0"/>
                </a:p>
              </p:txBody>
            </p:sp>
            <p:sp>
              <p:nvSpPr>
                <p:cNvPr id="172" name="Прямоугольник 171"/>
                <p:cNvSpPr/>
                <p:nvPr/>
              </p:nvSpPr>
              <p:spPr>
                <a:xfrm>
                  <a:off x="7676964" y="5198076"/>
                  <a:ext cx="1927027" cy="228129"/>
                </a:xfrm>
                <a:prstGeom prst="rect">
                  <a:avLst/>
                </a:prstGeom>
              </p:spPr>
              <p:txBody>
                <a:bodyPr wrap="none">
                  <a:spAutoFit/>
                </a:bodyPr>
                <a:lstStyle/>
                <a:p>
                  <a:r>
                    <a:rPr lang="ru-RU" sz="700" dirty="0">
                      <a:solidFill>
                        <a:srgbClr val="000000"/>
                      </a:solidFill>
                      <a:latin typeface="Calibri" panose="020F0502020204030204" pitchFamily="34" charset="0"/>
                    </a:rPr>
                    <a:t>Количество связываемых агломераций</a:t>
                  </a:r>
                  <a:endParaRPr lang="ru-RU" sz="700" dirty="0"/>
                </a:p>
              </p:txBody>
            </p:sp>
            <p:sp>
              <p:nvSpPr>
                <p:cNvPr id="173" name="Прямоугольник 172"/>
                <p:cNvSpPr/>
                <p:nvPr/>
              </p:nvSpPr>
              <p:spPr>
                <a:xfrm>
                  <a:off x="7227687" y="5349645"/>
                  <a:ext cx="554693" cy="315870"/>
                </a:xfrm>
                <a:prstGeom prst="rect">
                  <a:avLst/>
                </a:prstGeom>
              </p:spPr>
              <p:txBody>
                <a:bodyPr wrap="square">
                  <a:spAutoFit/>
                </a:bodyPr>
                <a:lstStyle/>
                <a:p>
                  <a:pPr algn="r"/>
                  <a:r>
                    <a:rPr lang="ru-RU" sz="1200" b="1" dirty="0">
                      <a:solidFill>
                        <a:srgbClr val="000000"/>
                      </a:solidFill>
                      <a:latin typeface="Calibri" panose="020F0502020204030204" pitchFamily="34" charset="0"/>
                    </a:rPr>
                    <a:t>4</a:t>
                  </a:r>
                  <a:endParaRPr lang="ru-RU" sz="1200" b="1" dirty="0"/>
                </a:p>
              </p:txBody>
            </p:sp>
            <p:sp>
              <p:nvSpPr>
                <p:cNvPr id="174" name="Прямоугольник 173"/>
                <p:cNvSpPr/>
                <p:nvPr/>
              </p:nvSpPr>
              <p:spPr>
                <a:xfrm>
                  <a:off x="7676964" y="5401652"/>
                  <a:ext cx="1970898" cy="228129"/>
                </a:xfrm>
                <a:prstGeom prst="rect">
                  <a:avLst/>
                </a:prstGeom>
              </p:spPr>
              <p:txBody>
                <a:bodyPr wrap="none">
                  <a:spAutoFit/>
                </a:bodyPr>
                <a:lstStyle/>
                <a:p>
                  <a:r>
                    <a:rPr lang="ru-RU" sz="700" dirty="0">
                      <a:solidFill>
                        <a:srgbClr val="000000"/>
                      </a:solidFill>
                      <a:latin typeface="Calibri" panose="020F0502020204030204" pitchFamily="34" charset="0"/>
                    </a:rPr>
                    <a:t>Количество связываемых центров роста</a:t>
                  </a:r>
                  <a:endParaRPr lang="ru-RU" sz="700" dirty="0"/>
                </a:p>
              </p:txBody>
            </p:sp>
            <p:sp>
              <p:nvSpPr>
                <p:cNvPr id="175" name="Прямоугольник 174"/>
                <p:cNvSpPr/>
                <p:nvPr/>
              </p:nvSpPr>
              <p:spPr>
                <a:xfrm>
                  <a:off x="7182003" y="5567705"/>
                  <a:ext cx="600378" cy="315870"/>
                </a:xfrm>
                <a:prstGeom prst="rect">
                  <a:avLst/>
                </a:prstGeom>
              </p:spPr>
              <p:txBody>
                <a:bodyPr wrap="square">
                  <a:spAutoFit/>
                </a:bodyPr>
                <a:lstStyle/>
                <a:p>
                  <a:pPr algn="r"/>
                  <a:r>
                    <a:rPr lang="ru-RU" sz="1200" b="1" dirty="0">
                      <a:solidFill>
                        <a:srgbClr val="000000"/>
                      </a:solidFill>
                      <a:latin typeface="Calibri" panose="020F0502020204030204" pitchFamily="34" charset="0"/>
                    </a:rPr>
                    <a:t>25,9</a:t>
                  </a:r>
                  <a:endParaRPr lang="ru-RU" sz="1200" b="1" dirty="0"/>
                </a:p>
              </p:txBody>
            </p:sp>
            <p:sp>
              <p:nvSpPr>
                <p:cNvPr id="176" name="Прямоугольник 175"/>
                <p:cNvSpPr/>
                <p:nvPr/>
              </p:nvSpPr>
              <p:spPr>
                <a:xfrm>
                  <a:off x="7676964" y="5610152"/>
                  <a:ext cx="1374986" cy="228129"/>
                </a:xfrm>
                <a:prstGeom prst="rect">
                  <a:avLst/>
                </a:prstGeom>
              </p:spPr>
              <p:txBody>
                <a:bodyPr wrap="none">
                  <a:spAutoFit/>
                </a:bodyPr>
                <a:lstStyle/>
                <a:p>
                  <a:r>
                    <a:rPr lang="ru-RU" sz="700" dirty="0">
                      <a:solidFill>
                        <a:srgbClr val="000000"/>
                      </a:solidFill>
                      <a:latin typeface="Calibri" panose="020F0502020204030204" pitchFamily="34" charset="0"/>
                    </a:rPr>
                    <a:t>Охват населения, млн чел.</a:t>
                  </a:r>
                  <a:endParaRPr lang="ru-RU" sz="700" dirty="0"/>
                </a:p>
              </p:txBody>
            </p:sp>
            <p:sp>
              <p:nvSpPr>
                <p:cNvPr id="177" name="Прямоугольник 176"/>
                <p:cNvSpPr/>
                <p:nvPr/>
              </p:nvSpPr>
              <p:spPr>
                <a:xfrm>
                  <a:off x="7389324" y="5796244"/>
                  <a:ext cx="389719" cy="315870"/>
                </a:xfrm>
                <a:prstGeom prst="rect">
                  <a:avLst/>
                </a:prstGeom>
              </p:spPr>
              <p:txBody>
                <a:bodyPr wrap="none">
                  <a:spAutoFit/>
                </a:bodyPr>
                <a:lstStyle/>
                <a:p>
                  <a:r>
                    <a:rPr lang="ru-RU" sz="1200" b="1" dirty="0">
                      <a:solidFill>
                        <a:srgbClr val="000000"/>
                      </a:solidFill>
                      <a:latin typeface="Calibri" panose="020F0502020204030204" pitchFamily="34" charset="0"/>
                    </a:rPr>
                    <a:t>11</a:t>
                  </a:r>
                  <a:endParaRPr lang="ru-RU" sz="1200" b="1" dirty="0"/>
                </a:p>
              </p:txBody>
            </p:sp>
            <p:sp>
              <p:nvSpPr>
                <p:cNvPr id="178" name="Прямоугольник 177"/>
                <p:cNvSpPr/>
                <p:nvPr/>
              </p:nvSpPr>
              <p:spPr>
                <a:xfrm>
                  <a:off x="7676964" y="5838741"/>
                  <a:ext cx="1888640" cy="228129"/>
                </a:xfrm>
                <a:prstGeom prst="rect">
                  <a:avLst/>
                </a:prstGeom>
              </p:spPr>
              <p:txBody>
                <a:bodyPr wrap="none">
                  <a:spAutoFit/>
                </a:bodyPr>
                <a:lstStyle/>
                <a:p>
                  <a:r>
                    <a:rPr lang="ru-RU" sz="700" dirty="0">
                      <a:solidFill>
                        <a:srgbClr val="000000"/>
                      </a:solidFill>
                      <a:latin typeface="Calibri" panose="020F0502020204030204" pitchFamily="34" charset="0"/>
                    </a:rPr>
                    <a:t>ВРП регионов прохождения, трлн руб.</a:t>
                  </a:r>
                  <a:endParaRPr lang="ru-RU" sz="700" dirty="0"/>
                </a:p>
              </p:txBody>
            </p:sp>
            <p:sp>
              <p:nvSpPr>
                <p:cNvPr id="179" name="Прямоугольник 178"/>
                <p:cNvSpPr/>
                <p:nvPr/>
              </p:nvSpPr>
              <p:spPr>
                <a:xfrm>
                  <a:off x="7676964" y="6029667"/>
                  <a:ext cx="2320036" cy="228129"/>
                </a:xfrm>
                <a:prstGeom prst="rect">
                  <a:avLst/>
                </a:prstGeom>
              </p:spPr>
              <p:txBody>
                <a:bodyPr wrap="none">
                  <a:spAutoFit/>
                </a:bodyPr>
                <a:lstStyle/>
                <a:p>
                  <a:r>
                    <a:rPr lang="ru-RU" sz="700" dirty="0">
                      <a:solidFill>
                        <a:prstClr val="black"/>
                      </a:solidFill>
                    </a:rPr>
                    <a:t>Сокращение времени в пути (%) от Набережных</a:t>
                  </a:r>
                  <a:endParaRPr lang="ru-RU" sz="700" b="1" dirty="0"/>
                </a:p>
              </p:txBody>
            </p:sp>
            <p:sp>
              <p:nvSpPr>
                <p:cNvPr id="180" name="Прямоугольник 179"/>
                <p:cNvSpPr/>
                <p:nvPr/>
              </p:nvSpPr>
              <p:spPr>
                <a:xfrm>
                  <a:off x="7676964" y="6162007"/>
                  <a:ext cx="1892297" cy="228129"/>
                </a:xfrm>
                <a:prstGeom prst="rect">
                  <a:avLst/>
                </a:prstGeom>
              </p:spPr>
              <p:txBody>
                <a:bodyPr wrap="none">
                  <a:spAutoFit/>
                </a:bodyPr>
                <a:lstStyle/>
                <a:p>
                  <a:pPr defTabSz="1111056"/>
                  <a:r>
                    <a:rPr lang="ru-RU" sz="700" dirty="0">
                      <a:solidFill>
                        <a:prstClr val="black"/>
                      </a:solidFill>
                    </a:rPr>
                    <a:t>Челнов до Краснодара (с 26 ч до 16 ч) </a:t>
                  </a:r>
                  <a:endParaRPr lang="ru-RU" sz="700" b="1" dirty="0">
                    <a:solidFill>
                      <a:prstClr val="black"/>
                    </a:solidFill>
                  </a:endParaRPr>
                </a:p>
              </p:txBody>
            </p:sp>
            <p:sp>
              <p:nvSpPr>
                <p:cNvPr id="181" name="Прямоугольник 180"/>
                <p:cNvSpPr/>
                <p:nvPr/>
              </p:nvSpPr>
              <p:spPr>
                <a:xfrm>
                  <a:off x="7247303" y="6056047"/>
                  <a:ext cx="517676" cy="315871"/>
                </a:xfrm>
                <a:prstGeom prst="rect">
                  <a:avLst/>
                </a:prstGeom>
              </p:spPr>
              <p:txBody>
                <a:bodyPr wrap="none">
                  <a:spAutoFit/>
                </a:bodyPr>
                <a:lstStyle/>
                <a:p>
                  <a:r>
                    <a:rPr lang="ru-RU" sz="1200" b="1" dirty="0">
                      <a:solidFill>
                        <a:srgbClr val="000000"/>
                      </a:solidFill>
                      <a:latin typeface="Calibri" panose="020F0502020204030204" pitchFamily="34" charset="0"/>
                    </a:rPr>
                    <a:t>38%</a:t>
                  </a:r>
                </a:p>
              </p:txBody>
            </p:sp>
          </p:grpSp>
          <p:grpSp>
            <p:nvGrpSpPr>
              <p:cNvPr id="164" name="Группа 163"/>
              <p:cNvGrpSpPr/>
              <p:nvPr/>
            </p:nvGrpSpPr>
            <p:grpSpPr>
              <a:xfrm>
                <a:off x="9817861" y="5139856"/>
                <a:ext cx="1859987" cy="1221167"/>
                <a:chOff x="9777699" y="1462938"/>
                <a:chExt cx="1859987" cy="1221167"/>
              </a:xfrm>
            </p:grpSpPr>
            <p:sp>
              <p:nvSpPr>
                <p:cNvPr id="165" name="Прямоугольник 164"/>
                <p:cNvSpPr/>
                <p:nvPr/>
              </p:nvSpPr>
              <p:spPr>
                <a:xfrm>
                  <a:off x="9777699" y="1474330"/>
                  <a:ext cx="554692" cy="315871"/>
                </a:xfrm>
                <a:prstGeom prst="rect">
                  <a:avLst/>
                </a:prstGeom>
              </p:spPr>
              <p:txBody>
                <a:bodyPr wrap="square">
                  <a:spAutoFit/>
                </a:bodyPr>
                <a:lstStyle/>
                <a:p>
                  <a:pPr algn="r"/>
                  <a:r>
                    <a:rPr lang="en-US" sz="1200" b="1" dirty="0">
                      <a:solidFill>
                        <a:srgbClr val="000000"/>
                      </a:solidFill>
                      <a:latin typeface="Calibri" panose="020F0502020204030204" pitchFamily="34" charset="0"/>
                    </a:rPr>
                    <a:t>6,6</a:t>
                  </a:r>
                  <a:endParaRPr lang="ru-RU" sz="1200" b="1" dirty="0"/>
                </a:p>
              </p:txBody>
            </p:sp>
            <p:sp>
              <p:nvSpPr>
                <p:cNvPr id="166" name="Прямоугольник 165"/>
                <p:cNvSpPr/>
                <p:nvPr/>
              </p:nvSpPr>
              <p:spPr>
                <a:xfrm>
                  <a:off x="9777699" y="1899331"/>
                  <a:ext cx="554692" cy="315871"/>
                </a:xfrm>
                <a:prstGeom prst="rect">
                  <a:avLst/>
                </a:prstGeom>
              </p:spPr>
              <p:txBody>
                <a:bodyPr wrap="square">
                  <a:spAutoFit/>
                </a:bodyPr>
                <a:lstStyle/>
                <a:p>
                  <a:pPr algn="r"/>
                  <a:r>
                    <a:rPr lang="en-US" sz="1200" b="1" dirty="0">
                      <a:solidFill>
                        <a:srgbClr val="000000"/>
                      </a:solidFill>
                      <a:latin typeface="Calibri" panose="020F0502020204030204" pitchFamily="34" charset="0"/>
                    </a:rPr>
                    <a:t>9,6</a:t>
                  </a:r>
                  <a:endParaRPr lang="ru-RU" sz="1200" b="1" dirty="0"/>
                </a:p>
              </p:txBody>
            </p:sp>
            <p:sp>
              <p:nvSpPr>
                <p:cNvPr id="167" name="Прямоугольник 166"/>
                <p:cNvSpPr/>
                <p:nvPr/>
              </p:nvSpPr>
              <p:spPr>
                <a:xfrm>
                  <a:off x="9777699" y="2343655"/>
                  <a:ext cx="554692" cy="315871"/>
                </a:xfrm>
                <a:prstGeom prst="rect">
                  <a:avLst/>
                </a:prstGeom>
              </p:spPr>
              <p:txBody>
                <a:bodyPr wrap="square">
                  <a:spAutoFit/>
                </a:bodyPr>
                <a:lstStyle/>
                <a:p>
                  <a:pPr algn="r"/>
                  <a:r>
                    <a:rPr lang="en-US" sz="1200" b="1" dirty="0">
                      <a:solidFill>
                        <a:srgbClr val="000000"/>
                      </a:solidFill>
                      <a:latin typeface="Calibri" panose="020F0502020204030204" pitchFamily="34" charset="0"/>
                    </a:rPr>
                    <a:t>9,2</a:t>
                  </a:r>
                  <a:endParaRPr lang="ru-RU" sz="1200" b="1" dirty="0"/>
                </a:p>
              </p:txBody>
            </p:sp>
            <p:sp>
              <p:nvSpPr>
                <p:cNvPr id="168" name="Прямоугольник 167"/>
                <p:cNvSpPr/>
                <p:nvPr/>
              </p:nvSpPr>
              <p:spPr>
                <a:xfrm>
                  <a:off x="10211402" y="1883560"/>
                  <a:ext cx="1343910" cy="350968"/>
                </a:xfrm>
                <a:prstGeom prst="rect">
                  <a:avLst/>
                </a:prstGeom>
              </p:spPr>
              <p:txBody>
                <a:bodyPr wrap="none">
                  <a:spAutoFit/>
                </a:bodyPr>
                <a:lstStyle/>
                <a:p>
                  <a:r>
                    <a:rPr lang="ru-RU" sz="700" dirty="0"/>
                    <a:t>годовой пассажиропоток,</a:t>
                  </a:r>
                  <a:endParaRPr lang="en-US" sz="700" dirty="0"/>
                </a:p>
                <a:p>
                  <a:r>
                    <a:rPr lang="ru-RU" sz="700" dirty="0"/>
                    <a:t>млн чел. (2030)</a:t>
                  </a:r>
                </a:p>
              </p:txBody>
            </p:sp>
            <p:sp>
              <p:nvSpPr>
                <p:cNvPr id="169" name="Прямоугольник 168"/>
                <p:cNvSpPr/>
                <p:nvPr/>
              </p:nvSpPr>
              <p:spPr>
                <a:xfrm>
                  <a:off x="10208620" y="2333137"/>
                  <a:ext cx="1102621" cy="350968"/>
                </a:xfrm>
                <a:prstGeom prst="rect">
                  <a:avLst/>
                </a:prstGeom>
              </p:spPr>
              <p:txBody>
                <a:bodyPr wrap="none">
                  <a:spAutoFit/>
                </a:bodyPr>
                <a:lstStyle/>
                <a:p>
                  <a:r>
                    <a:rPr lang="ru-RU" sz="700" dirty="0"/>
                    <a:t>годовой грузопоток,</a:t>
                  </a:r>
                  <a:endParaRPr lang="en-US" sz="700" dirty="0"/>
                </a:p>
                <a:p>
                  <a:r>
                    <a:rPr lang="ru-RU" sz="700" dirty="0"/>
                    <a:t>млн т. (2030)</a:t>
                  </a:r>
                </a:p>
              </p:txBody>
            </p:sp>
            <p:sp>
              <p:nvSpPr>
                <p:cNvPr id="170" name="Прямоугольник 169"/>
                <p:cNvSpPr/>
                <p:nvPr/>
              </p:nvSpPr>
              <p:spPr>
                <a:xfrm>
                  <a:off x="10213345" y="1462938"/>
                  <a:ext cx="1424341" cy="350968"/>
                </a:xfrm>
                <a:prstGeom prst="rect">
                  <a:avLst/>
                </a:prstGeom>
              </p:spPr>
              <p:txBody>
                <a:bodyPr wrap="none">
                  <a:spAutoFit/>
                </a:bodyPr>
                <a:lstStyle/>
                <a:p>
                  <a:r>
                    <a:rPr lang="ru-RU" sz="700" dirty="0">
                      <a:solidFill>
                        <a:srgbClr val="000000"/>
                      </a:solidFill>
                      <a:latin typeface="Calibri" panose="020F0502020204030204" pitchFamily="34" charset="0"/>
                    </a:rPr>
                    <a:t>интенсивность движения,</a:t>
                  </a:r>
                  <a:endParaRPr lang="en-US" sz="700" dirty="0">
                    <a:solidFill>
                      <a:srgbClr val="000000"/>
                    </a:solidFill>
                    <a:latin typeface="Calibri" panose="020F0502020204030204" pitchFamily="34" charset="0"/>
                  </a:endParaRPr>
                </a:p>
                <a:p>
                  <a:r>
                    <a:rPr lang="ru-RU" sz="700" dirty="0">
                      <a:solidFill>
                        <a:srgbClr val="000000"/>
                      </a:solidFill>
                      <a:latin typeface="Calibri" panose="020F0502020204030204" pitchFamily="34" charset="0"/>
                    </a:rPr>
                    <a:t>млн </a:t>
                  </a:r>
                  <a:r>
                    <a:rPr lang="ru-RU" sz="700" dirty="0" err="1">
                      <a:solidFill>
                        <a:srgbClr val="000000"/>
                      </a:solidFill>
                      <a:latin typeface="Calibri" panose="020F0502020204030204" pitchFamily="34" charset="0"/>
                    </a:rPr>
                    <a:t>прив</a:t>
                  </a:r>
                  <a:r>
                    <a:rPr lang="ru-RU" sz="700" dirty="0">
                      <a:solidFill>
                        <a:srgbClr val="000000"/>
                      </a:solidFill>
                      <a:latin typeface="Calibri" panose="020F0502020204030204" pitchFamily="34" charset="0"/>
                    </a:rPr>
                    <a:t>. авто. в год (2030)</a:t>
                  </a:r>
                  <a:endParaRPr lang="ru-RU" sz="700" dirty="0"/>
                </a:p>
              </p:txBody>
            </p:sp>
          </p:grpSp>
        </p:grpSp>
        <p:grpSp>
          <p:nvGrpSpPr>
            <p:cNvPr id="182" name="Группа 181"/>
            <p:cNvGrpSpPr/>
            <p:nvPr/>
          </p:nvGrpSpPr>
          <p:grpSpPr>
            <a:xfrm>
              <a:off x="6510862" y="4662496"/>
              <a:ext cx="1247379" cy="309496"/>
              <a:chOff x="7619338" y="4831933"/>
              <a:chExt cx="1247379" cy="309496"/>
            </a:xfrm>
          </p:grpSpPr>
          <p:sp>
            <p:nvSpPr>
              <p:cNvPr id="183" name="Прямоугольник 182"/>
              <p:cNvSpPr/>
              <p:nvPr/>
            </p:nvSpPr>
            <p:spPr>
              <a:xfrm>
                <a:off x="7619338" y="4831933"/>
                <a:ext cx="1247379" cy="309496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ru-RU" sz="500" b="1" dirty="0">
                    <a:latin typeface="Calibri" panose="020F0502020204030204" pitchFamily="34" charset="0"/>
                  </a:rPr>
                  <a:t>Пункт пропуска «Сагарчин»</a:t>
                </a:r>
                <a:br>
                  <a:rPr lang="ru-RU" sz="500" b="1" dirty="0">
                    <a:latin typeface="Calibri" panose="020F0502020204030204" pitchFamily="34" charset="0"/>
                  </a:rPr>
                </a:br>
                <a:r>
                  <a:rPr lang="ru-RU" sz="500" b="1" dirty="0">
                    <a:latin typeface="Calibri" panose="020F0502020204030204" pitchFamily="34" charset="0"/>
                  </a:rPr>
                  <a:t>на границе с Казахстаном</a:t>
                </a:r>
                <a:endParaRPr lang="ru-RU" sz="500" b="1" dirty="0"/>
              </a:p>
            </p:txBody>
          </p:sp>
          <p:cxnSp>
            <p:nvCxnSpPr>
              <p:cNvPr id="184" name="Прямая соединительная линия 183"/>
              <p:cNvCxnSpPr/>
              <p:nvPr/>
            </p:nvCxnSpPr>
            <p:spPr>
              <a:xfrm>
                <a:off x="7653251" y="4871258"/>
                <a:ext cx="166679" cy="261369"/>
              </a:xfrm>
              <a:prstGeom prst="line">
                <a:avLst/>
              </a:prstGeom>
              <a:ln w="3175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5" name="Прямая соединительная линия 184"/>
              <p:cNvCxnSpPr/>
              <p:nvPr/>
            </p:nvCxnSpPr>
            <p:spPr>
              <a:xfrm>
                <a:off x="7819488" y="5132627"/>
                <a:ext cx="772478" cy="0"/>
              </a:xfrm>
              <a:prstGeom prst="line">
                <a:avLst/>
              </a:prstGeom>
              <a:ln w="3175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86" name="Овал 185"/>
            <p:cNvSpPr/>
            <p:nvPr/>
          </p:nvSpPr>
          <p:spPr>
            <a:xfrm>
              <a:off x="772666" y="1067380"/>
              <a:ext cx="220507" cy="220507"/>
            </a:xfrm>
            <a:prstGeom prst="ellipse">
              <a:avLst/>
            </a:prstGeom>
            <a:noFill/>
            <a:ln w="38100">
              <a:solidFill>
                <a:srgbClr val="0070C0">
                  <a:alpha val="49000"/>
                </a:srgb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200"/>
            </a:p>
          </p:txBody>
        </p:sp>
        <p:sp>
          <p:nvSpPr>
            <p:cNvPr id="187" name="Овал 186"/>
            <p:cNvSpPr/>
            <p:nvPr/>
          </p:nvSpPr>
          <p:spPr>
            <a:xfrm>
              <a:off x="2234419" y="2651482"/>
              <a:ext cx="491696" cy="491696"/>
            </a:xfrm>
            <a:prstGeom prst="ellipse">
              <a:avLst/>
            </a:prstGeom>
            <a:noFill/>
            <a:ln w="38100">
              <a:solidFill>
                <a:srgbClr val="0070C0">
                  <a:alpha val="49000"/>
                </a:srgb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200"/>
            </a:p>
          </p:txBody>
        </p:sp>
        <p:sp>
          <p:nvSpPr>
            <p:cNvPr id="188" name="Овал 187"/>
            <p:cNvSpPr/>
            <p:nvPr/>
          </p:nvSpPr>
          <p:spPr>
            <a:xfrm>
              <a:off x="3740428" y="2574622"/>
              <a:ext cx="220507" cy="220507"/>
            </a:xfrm>
            <a:prstGeom prst="ellipse">
              <a:avLst/>
            </a:prstGeom>
            <a:noFill/>
            <a:ln w="38100">
              <a:solidFill>
                <a:srgbClr val="0070C0">
                  <a:alpha val="49000"/>
                </a:srgb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200"/>
            </a:p>
          </p:txBody>
        </p:sp>
        <p:sp>
          <p:nvSpPr>
            <p:cNvPr id="189" name="Овал 188"/>
            <p:cNvSpPr/>
            <p:nvPr/>
          </p:nvSpPr>
          <p:spPr>
            <a:xfrm>
              <a:off x="5537031" y="2800002"/>
              <a:ext cx="220507" cy="220507"/>
            </a:xfrm>
            <a:prstGeom prst="ellipse">
              <a:avLst/>
            </a:prstGeom>
            <a:noFill/>
            <a:ln w="38100">
              <a:solidFill>
                <a:srgbClr val="0070C0">
                  <a:alpha val="49000"/>
                </a:srgb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200"/>
            </a:p>
          </p:txBody>
        </p:sp>
        <p:sp>
          <p:nvSpPr>
            <p:cNvPr id="190" name="Овал 189"/>
            <p:cNvSpPr/>
            <p:nvPr/>
          </p:nvSpPr>
          <p:spPr>
            <a:xfrm>
              <a:off x="6367719" y="1842786"/>
              <a:ext cx="302802" cy="302802"/>
            </a:xfrm>
            <a:prstGeom prst="ellipse">
              <a:avLst/>
            </a:prstGeom>
            <a:noFill/>
            <a:ln w="38100">
              <a:solidFill>
                <a:srgbClr val="0070C0">
                  <a:alpha val="49000"/>
                </a:srgb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200"/>
            </a:p>
          </p:txBody>
        </p:sp>
        <p:sp>
          <p:nvSpPr>
            <p:cNvPr id="191" name="Овал 190"/>
            <p:cNvSpPr/>
            <p:nvPr/>
          </p:nvSpPr>
          <p:spPr>
            <a:xfrm>
              <a:off x="4911528" y="2775465"/>
              <a:ext cx="220507" cy="220507"/>
            </a:xfrm>
            <a:prstGeom prst="ellipse">
              <a:avLst/>
            </a:prstGeom>
            <a:noFill/>
            <a:ln w="38100">
              <a:solidFill>
                <a:srgbClr val="0070C0">
                  <a:alpha val="49000"/>
                </a:srgb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200"/>
            </a:p>
          </p:txBody>
        </p:sp>
        <p:sp>
          <p:nvSpPr>
            <p:cNvPr id="192" name="Овал 191"/>
            <p:cNvSpPr/>
            <p:nvPr/>
          </p:nvSpPr>
          <p:spPr>
            <a:xfrm>
              <a:off x="7372271" y="2332183"/>
              <a:ext cx="302802" cy="302802"/>
            </a:xfrm>
            <a:prstGeom prst="ellipse">
              <a:avLst/>
            </a:prstGeom>
            <a:noFill/>
            <a:ln w="38100">
              <a:solidFill>
                <a:srgbClr val="0070C0">
                  <a:alpha val="49000"/>
                </a:srgb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200"/>
            </a:p>
          </p:txBody>
        </p:sp>
        <p:sp>
          <p:nvSpPr>
            <p:cNvPr id="193" name="Овал 192"/>
            <p:cNvSpPr/>
            <p:nvPr/>
          </p:nvSpPr>
          <p:spPr>
            <a:xfrm>
              <a:off x="7552575" y="2976127"/>
              <a:ext cx="302802" cy="302802"/>
            </a:xfrm>
            <a:prstGeom prst="ellipse">
              <a:avLst/>
            </a:prstGeom>
            <a:noFill/>
            <a:ln w="38100">
              <a:solidFill>
                <a:srgbClr val="0070C0">
                  <a:alpha val="49000"/>
                </a:srgb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200"/>
            </a:p>
          </p:txBody>
        </p:sp>
        <p:sp>
          <p:nvSpPr>
            <p:cNvPr id="194" name="Овал 193"/>
            <p:cNvSpPr/>
            <p:nvPr/>
          </p:nvSpPr>
          <p:spPr>
            <a:xfrm>
              <a:off x="6425674" y="3173490"/>
              <a:ext cx="220507" cy="220507"/>
            </a:xfrm>
            <a:prstGeom prst="ellipse">
              <a:avLst/>
            </a:prstGeom>
            <a:noFill/>
            <a:ln w="38100">
              <a:solidFill>
                <a:srgbClr val="0070C0">
                  <a:alpha val="49000"/>
                </a:srgb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200"/>
            </a:p>
          </p:txBody>
        </p:sp>
        <p:sp>
          <p:nvSpPr>
            <p:cNvPr id="195" name="Овал 194"/>
            <p:cNvSpPr/>
            <p:nvPr/>
          </p:nvSpPr>
          <p:spPr>
            <a:xfrm>
              <a:off x="5060513" y="3678025"/>
              <a:ext cx="302802" cy="302802"/>
            </a:xfrm>
            <a:prstGeom prst="ellipse">
              <a:avLst/>
            </a:prstGeom>
            <a:noFill/>
            <a:ln w="38100">
              <a:solidFill>
                <a:srgbClr val="0070C0">
                  <a:alpha val="49000"/>
                </a:srgb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200"/>
            </a:p>
          </p:txBody>
        </p:sp>
        <p:sp>
          <p:nvSpPr>
            <p:cNvPr id="196" name="Овал 195"/>
            <p:cNvSpPr/>
            <p:nvPr/>
          </p:nvSpPr>
          <p:spPr>
            <a:xfrm>
              <a:off x="3869217" y="5401535"/>
              <a:ext cx="220507" cy="220507"/>
            </a:xfrm>
            <a:prstGeom prst="ellipse">
              <a:avLst/>
            </a:prstGeom>
            <a:noFill/>
            <a:ln w="38100">
              <a:solidFill>
                <a:srgbClr val="0070C0">
                  <a:alpha val="49000"/>
                </a:srgb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200"/>
            </a:p>
          </p:txBody>
        </p:sp>
        <p:sp>
          <p:nvSpPr>
            <p:cNvPr id="197" name="Овал 196"/>
            <p:cNvSpPr/>
            <p:nvPr/>
          </p:nvSpPr>
          <p:spPr>
            <a:xfrm>
              <a:off x="2652164" y="6496240"/>
              <a:ext cx="220507" cy="220507"/>
            </a:xfrm>
            <a:prstGeom prst="ellipse">
              <a:avLst/>
            </a:prstGeom>
            <a:noFill/>
            <a:ln w="38100">
              <a:solidFill>
                <a:srgbClr val="0070C0">
                  <a:alpha val="49000"/>
                </a:srgb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200"/>
            </a:p>
          </p:txBody>
        </p:sp>
        <p:sp>
          <p:nvSpPr>
            <p:cNvPr id="198" name="Овал 197"/>
            <p:cNvSpPr/>
            <p:nvPr/>
          </p:nvSpPr>
          <p:spPr>
            <a:xfrm>
              <a:off x="2806711" y="5826538"/>
              <a:ext cx="220507" cy="220507"/>
            </a:xfrm>
            <a:prstGeom prst="ellipse">
              <a:avLst/>
            </a:prstGeom>
            <a:noFill/>
            <a:ln w="38100">
              <a:solidFill>
                <a:srgbClr val="0070C0">
                  <a:alpha val="49000"/>
                </a:srgb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200"/>
            </a:p>
          </p:txBody>
        </p:sp>
        <p:sp>
          <p:nvSpPr>
            <p:cNvPr id="199" name="Овал 198"/>
            <p:cNvSpPr/>
            <p:nvPr/>
          </p:nvSpPr>
          <p:spPr>
            <a:xfrm>
              <a:off x="2729438" y="4332589"/>
              <a:ext cx="220507" cy="220507"/>
            </a:xfrm>
            <a:prstGeom prst="ellipse">
              <a:avLst/>
            </a:prstGeom>
            <a:noFill/>
            <a:ln w="38100">
              <a:solidFill>
                <a:srgbClr val="0070C0">
                  <a:alpha val="49000"/>
                </a:srgb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200"/>
            </a:p>
          </p:txBody>
        </p:sp>
        <p:sp>
          <p:nvSpPr>
            <p:cNvPr id="200" name="Прямоугольник 199"/>
            <p:cNvSpPr/>
            <p:nvPr/>
          </p:nvSpPr>
          <p:spPr>
            <a:xfrm>
              <a:off x="1017641" y="1072195"/>
              <a:ext cx="989759" cy="232126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ru-RU" sz="600" b="1" dirty="0">
                  <a:latin typeface="Calibri" panose="020F0502020204030204" pitchFamily="34" charset="0"/>
                </a:rPr>
                <a:t>САНКТ-ПЕТЕРБУРГ</a:t>
              </a:r>
            </a:p>
          </p:txBody>
        </p:sp>
        <p:sp>
          <p:nvSpPr>
            <p:cNvPr id="201" name="Прямоугольник 200"/>
            <p:cNvSpPr/>
            <p:nvPr/>
          </p:nvSpPr>
          <p:spPr>
            <a:xfrm>
              <a:off x="1857266" y="2678811"/>
              <a:ext cx="598851" cy="232126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ru-RU" sz="600" b="1" dirty="0">
                  <a:latin typeface="Calibri" panose="020F0502020204030204" pitchFamily="34" charset="0"/>
                </a:rPr>
                <a:t>МОСКВА</a:t>
              </a:r>
            </a:p>
          </p:txBody>
        </p:sp>
        <p:sp>
          <p:nvSpPr>
            <p:cNvPr id="202" name="Прямоугольник 201"/>
            <p:cNvSpPr/>
            <p:nvPr/>
          </p:nvSpPr>
          <p:spPr>
            <a:xfrm>
              <a:off x="3251276" y="2270632"/>
              <a:ext cx="731842" cy="232126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ru-RU" sz="600" b="1" dirty="0">
                  <a:latin typeface="Calibri" panose="020F0502020204030204" pitchFamily="34" charset="0"/>
                </a:rPr>
                <a:t>ВЛАДИМИР</a:t>
              </a:r>
            </a:p>
          </p:txBody>
        </p:sp>
        <p:sp>
          <p:nvSpPr>
            <p:cNvPr id="203" name="Прямоугольник 202"/>
            <p:cNvSpPr/>
            <p:nvPr/>
          </p:nvSpPr>
          <p:spPr>
            <a:xfrm>
              <a:off x="3707334" y="2070846"/>
              <a:ext cx="1110657" cy="232126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ru-RU" sz="600" b="1" dirty="0">
                  <a:latin typeface="Calibri" panose="020F0502020204030204" pitchFamily="34" charset="0"/>
                </a:rPr>
                <a:t>НИЖНИЙ НОВГОРОД</a:t>
              </a:r>
            </a:p>
          </p:txBody>
        </p:sp>
        <p:cxnSp>
          <p:nvCxnSpPr>
            <p:cNvPr id="204" name="Прямая соединительная линия 203"/>
            <p:cNvCxnSpPr/>
            <p:nvPr/>
          </p:nvCxnSpPr>
          <p:spPr>
            <a:xfrm flipV="1">
              <a:off x="3116105" y="2473949"/>
              <a:ext cx="275320" cy="27532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5" name="Прямая соединительная линия 204"/>
            <p:cNvCxnSpPr/>
            <p:nvPr/>
          </p:nvCxnSpPr>
          <p:spPr>
            <a:xfrm flipV="1">
              <a:off x="3846089" y="2301019"/>
              <a:ext cx="386778" cy="386778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06" name="Прямоугольник 205"/>
            <p:cNvSpPr/>
            <p:nvPr/>
          </p:nvSpPr>
          <p:spPr>
            <a:xfrm>
              <a:off x="4166021" y="2491674"/>
              <a:ext cx="743932" cy="232126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ru-RU" sz="600" b="1" dirty="0">
                  <a:latin typeface="Calibri" panose="020F0502020204030204" pitchFamily="34" charset="0"/>
                </a:rPr>
                <a:t>ЧЕБОКСАРЫ</a:t>
              </a:r>
            </a:p>
          </p:txBody>
        </p:sp>
        <p:sp>
          <p:nvSpPr>
            <p:cNvPr id="207" name="Прямоугольник 206"/>
            <p:cNvSpPr/>
            <p:nvPr/>
          </p:nvSpPr>
          <p:spPr>
            <a:xfrm>
              <a:off x="4771714" y="2564877"/>
              <a:ext cx="564598" cy="232126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ru-RU" sz="600" b="1" dirty="0">
                  <a:latin typeface="Calibri" panose="020F0502020204030204" pitchFamily="34" charset="0"/>
                </a:rPr>
                <a:t>КАЗАНЬ</a:t>
              </a:r>
            </a:p>
          </p:txBody>
        </p:sp>
        <p:sp>
          <p:nvSpPr>
            <p:cNvPr id="208" name="Прямоугольник 207"/>
            <p:cNvSpPr/>
            <p:nvPr/>
          </p:nvSpPr>
          <p:spPr>
            <a:xfrm>
              <a:off x="5227854" y="2429676"/>
              <a:ext cx="814455" cy="348189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ru-RU" sz="600" b="1" dirty="0">
                  <a:latin typeface="Calibri" panose="020F0502020204030204" pitchFamily="34" charset="0"/>
                </a:rPr>
                <a:t>НАБЕРЕЖНЫЕ</a:t>
              </a:r>
            </a:p>
            <a:p>
              <a:pPr algn="ctr"/>
              <a:r>
                <a:rPr lang="ru-RU" sz="600" b="1" dirty="0">
                  <a:latin typeface="Calibri" panose="020F0502020204030204" pitchFamily="34" charset="0"/>
                </a:rPr>
                <a:t>ЧЕЛНЫ</a:t>
              </a:r>
            </a:p>
          </p:txBody>
        </p:sp>
        <p:sp>
          <p:nvSpPr>
            <p:cNvPr id="209" name="Прямоугольник 208"/>
            <p:cNvSpPr/>
            <p:nvPr/>
          </p:nvSpPr>
          <p:spPr>
            <a:xfrm>
              <a:off x="6253577" y="1607609"/>
              <a:ext cx="530343" cy="232126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ru-RU" sz="600" b="1" dirty="0">
                  <a:latin typeface="Calibri" panose="020F0502020204030204" pitchFamily="34" charset="0"/>
                </a:rPr>
                <a:t>ПЕРМЬ</a:t>
              </a:r>
            </a:p>
          </p:txBody>
        </p:sp>
        <p:sp>
          <p:nvSpPr>
            <p:cNvPr id="210" name="Прямоугольник 209"/>
            <p:cNvSpPr/>
            <p:nvPr/>
          </p:nvSpPr>
          <p:spPr>
            <a:xfrm>
              <a:off x="7005520" y="2650663"/>
              <a:ext cx="862814" cy="232126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ru-RU" sz="600" b="1" dirty="0">
                  <a:latin typeface="Calibri" panose="020F0502020204030204" pitchFamily="34" charset="0"/>
                </a:rPr>
                <a:t>ЕКАТЕРИНБУРГ</a:t>
              </a:r>
            </a:p>
          </p:txBody>
        </p:sp>
        <p:sp>
          <p:nvSpPr>
            <p:cNvPr id="211" name="Прямоугольник 210"/>
            <p:cNvSpPr/>
            <p:nvPr/>
          </p:nvSpPr>
          <p:spPr>
            <a:xfrm>
              <a:off x="7186759" y="3290044"/>
              <a:ext cx="731841" cy="232126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ru-RU" sz="600" b="1" dirty="0">
                  <a:latin typeface="Calibri" panose="020F0502020204030204" pitchFamily="34" charset="0"/>
                </a:rPr>
                <a:t>ЧЕЛЯБИНСК</a:t>
              </a:r>
            </a:p>
          </p:txBody>
        </p:sp>
        <p:sp>
          <p:nvSpPr>
            <p:cNvPr id="212" name="Прямоугольник 211"/>
            <p:cNvSpPr/>
            <p:nvPr/>
          </p:nvSpPr>
          <p:spPr>
            <a:xfrm>
              <a:off x="6508024" y="2990366"/>
              <a:ext cx="413475" cy="232126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ru-RU" sz="600" b="1" dirty="0">
                  <a:latin typeface="Calibri" panose="020F0502020204030204" pitchFamily="34" charset="0"/>
                </a:rPr>
                <a:t>УФА</a:t>
              </a:r>
            </a:p>
          </p:txBody>
        </p:sp>
        <p:sp>
          <p:nvSpPr>
            <p:cNvPr id="213" name="Прямоугольник 212"/>
            <p:cNvSpPr/>
            <p:nvPr/>
          </p:nvSpPr>
          <p:spPr>
            <a:xfrm>
              <a:off x="5358050" y="3710848"/>
              <a:ext cx="594821" cy="232126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ru-RU" sz="600" b="1" dirty="0">
                  <a:latin typeface="Calibri" panose="020F0502020204030204" pitchFamily="34" charset="0"/>
                </a:rPr>
                <a:t>САМАРА</a:t>
              </a:r>
            </a:p>
          </p:txBody>
        </p:sp>
        <p:sp>
          <p:nvSpPr>
            <p:cNvPr id="214" name="Прямоугольник 213"/>
            <p:cNvSpPr/>
            <p:nvPr/>
          </p:nvSpPr>
          <p:spPr>
            <a:xfrm>
              <a:off x="4114204" y="5395296"/>
              <a:ext cx="735871" cy="232126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ru-RU" sz="600" b="1" dirty="0">
                  <a:latin typeface="Calibri" panose="020F0502020204030204" pitchFamily="34" charset="0"/>
                </a:rPr>
                <a:t>ВОЛГОГРАД</a:t>
              </a:r>
            </a:p>
          </p:txBody>
        </p:sp>
        <p:sp>
          <p:nvSpPr>
            <p:cNvPr id="215" name="Прямоугольник 214"/>
            <p:cNvSpPr/>
            <p:nvPr/>
          </p:nvSpPr>
          <p:spPr>
            <a:xfrm>
              <a:off x="1975565" y="5618205"/>
              <a:ext cx="987744" cy="232126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ru-RU" sz="600" b="1" dirty="0">
                  <a:latin typeface="Calibri" panose="020F0502020204030204" pitchFamily="34" charset="0"/>
                </a:rPr>
                <a:t>РОСТОВ-НА-ДОНУ</a:t>
              </a:r>
            </a:p>
          </p:txBody>
        </p:sp>
        <p:sp>
          <p:nvSpPr>
            <p:cNvPr id="216" name="Прямоугольник 215"/>
            <p:cNvSpPr/>
            <p:nvPr/>
          </p:nvSpPr>
          <p:spPr>
            <a:xfrm>
              <a:off x="2170971" y="6271346"/>
              <a:ext cx="747961" cy="232126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ru-RU" sz="600" b="1" dirty="0">
                  <a:latin typeface="Calibri" panose="020F0502020204030204" pitchFamily="34" charset="0"/>
                </a:rPr>
                <a:t>КРАСНОДАР</a:t>
              </a:r>
            </a:p>
          </p:txBody>
        </p:sp>
        <p:sp>
          <p:nvSpPr>
            <p:cNvPr id="217" name="Прямоугольник 216"/>
            <p:cNvSpPr/>
            <p:nvPr/>
          </p:nvSpPr>
          <p:spPr>
            <a:xfrm>
              <a:off x="1272418" y="6870063"/>
              <a:ext cx="923264" cy="232126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ru-RU" sz="600" b="1" dirty="0">
                  <a:latin typeface="Calibri" panose="020F0502020204030204" pitchFamily="34" charset="0"/>
                </a:rPr>
                <a:t>НОВОРОССИЙСК</a:t>
              </a:r>
            </a:p>
          </p:txBody>
        </p:sp>
        <p:cxnSp>
          <p:nvCxnSpPr>
            <p:cNvPr id="218" name="Прямая соединительная линия 217"/>
            <p:cNvCxnSpPr/>
            <p:nvPr/>
          </p:nvCxnSpPr>
          <p:spPr>
            <a:xfrm flipV="1">
              <a:off x="2201705" y="6700167"/>
              <a:ext cx="275320" cy="27532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19" name="Прямоугольник 218"/>
            <p:cNvSpPr/>
            <p:nvPr/>
          </p:nvSpPr>
          <p:spPr>
            <a:xfrm>
              <a:off x="2900243" y="6859754"/>
              <a:ext cx="463849" cy="232126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ru-RU" sz="600" b="1" dirty="0">
                  <a:latin typeface="Calibri" panose="020F0502020204030204" pitchFamily="34" charset="0"/>
                </a:rPr>
                <a:t>СОЧИ</a:t>
              </a:r>
            </a:p>
          </p:txBody>
        </p:sp>
        <p:sp>
          <p:nvSpPr>
            <p:cNvPr id="220" name="Прямоугольник 219"/>
            <p:cNvSpPr/>
            <p:nvPr/>
          </p:nvSpPr>
          <p:spPr>
            <a:xfrm>
              <a:off x="4319174" y="4434791"/>
              <a:ext cx="619004" cy="232126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ru-RU" sz="600" b="1" dirty="0">
                  <a:latin typeface="Calibri" panose="020F0502020204030204" pitchFamily="34" charset="0"/>
                </a:rPr>
                <a:t>САРАТОВ</a:t>
              </a:r>
            </a:p>
          </p:txBody>
        </p:sp>
        <p:sp>
          <p:nvSpPr>
            <p:cNvPr id="221" name="Прямоугольник 220"/>
            <p:cNvSpPr/>
            <p:nvPr/>
          </p:nvSpPr>
          <p:spPr>
            <a:xfrm>
              <a:off x="3710542" y="3235195"/>
              <a:ext cx="616987" cy="232126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ru-RU" sz="600" b="1" dirty="0">
                  <a:latin typeface="Calibri" panose="020F0502020204030204" pitchFamily="34" charset="0"/>
                </a:rPr>
                <a:t>САРАНСК</a:t>
              </a:r>
            </a:p>
          </p:txBody>
        </p:sp>
        <p:sp>
          <p:nvSpPr>
            <p:cNvPr id="222" name="Прямоугольник 221"/>
            <p:cNvSpPr/>
            <p:nvPr/>
          </p:nvSpPr>
          <p:spPr>
            <a:xfrm>
              <a:off x="3335181" y="3957211"/>
              <a:ext cx="596838" cy="232126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ru-RU" sz="600" b="1" dirty="0">
                  <a:latin typeface="Calibri" panose="020F0502020204030204" pitchFamily="34" charset="0"/>
                </a:rPr>
                <a:t>ТАМБОВ</a:t>
              </a:r>
            </a:p>
          </p:txBody>
        </p:sp>
        <p:sp>
          <p:nvSpPr>
            <p:cNvPr id="223" name="Прямоугольник 222"/>
            <p:cNvSpPr/>
            <p:nvPr/>
          </p:nvSpPr>
          <p:spPr>
            <a:xfrm>
              <a:off x="2674594" y="3850132"/>
              <a:ext cx="580718" cy="232126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ru-RU" sz="600" b="1" dirty="0">
                  <a:latin typeface="Calibri" panose="020F0502020204030204" pitchFamily="34" charset="0"/>
                </a:rPr>
                <a:t>ЛИПЕЦК</a:t>
              </a:r>
            </a:p>
          </p:txBody>
        </p:sp>
        <p:sp>
          <p:nvSpPr>
            <p:cNvPr id="224" name="Прямоугольник 223"/>
            <p:cNvSpPr/>
            <p:nvPr/>
          </p:nvSpPr>
          <p:spPr>
            <a:xfrm>
              <a:off x="650832" y="3012261"/>
              <a:ext cx="703633" cy="232126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ru-RU" sz="600" b="1" dirty="0">
                  <a:latin typeface="Calibri" panose="020F0502020204030204" pitchFamily="34" charset="0"/>
                </a:rPr>
                <a:t>СМОЛЕНСК</a:t>
              </a:r>
            </a:p>
          </p:txBody>
        </p:sp>
        <p:sp>
          <p:nvSpPr>
            <p:cNvPr id="225" name="Прямоугольник 224"/>
            <p:cNvSpPr/>
            <p:nvPr/>
          </p:nvSpPr>
          <p:spPr>
            <a:xfrm>
              <a:off x="2582041" y="1848600"/>
              <a:ext cx="743931" cy="232126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ru-RU" sz="600" b="1" dirty="0">
                  <a:latin typeface="Calibri" panose="020F0502020204030204" pitchFamily="34" charset="0"/>
                </a:rPr>
                <a:t>ЯРОСЛАВЛЬ</a:t>
              </a:r>
            </a:p>
          </p:txBody>
        </p:sp>
        <p:grpSp>
          <p:nvGrpSpPr>
            <p:cNvPr id="226" name="Группа 225"/>
            <p:cNvGrpSpPr/>
            <p:nvPr/>
          </p:nvGrpSpPr>
          <p:grpSpPr>
            <a:xfrm>
              <a:off x="738498" y="1284337"/>
              <a:ext cx="7019742" cy="5477745"/>
              <a:chOff x="738498" y="1284337"/>
              <a:chExt cx="7019742" cy="5477745"/>
            </a:xfrm>
          </p:grpSpPr>
          <p:sp>
            <p:nvSpPr>
              <p:cNvPr id="227" name="Прямоугольник 226"/>
              <p:cNvSpPr/>
              <p:nvPr/>
            </p:nvSpPr>
            <p:spPr>
              <a:xfrm>
                <a:off x="738498" y="1284337"/>
                <a:ext cx="351011" cy="232126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algn="ctr"/>
                <a:r>
                  <a:rPr lang="ru-RU" sz="600" b="1" dirty="0">
                    <a:solidFill>
                      <a:srgbClr val="002060"/>
                    </a:solidFill>
                    <a:latin typeface="Calibri" panose="020F0502020204030204" pitchFamily="34" charset="0"/>
                  </a:rPr>
                  <a:t>6%</a:t>
                </a:r>
              </a:p>
            </p:txBody>
          </p:sp>
          <p:sp>
            <p:nvSpPr>
              <p:cNvPr id="228" name="Прямоугольник 227"/>
              <p:cNvSpPr/>
              <p:nvPr/>
            </p:nvSpPr>
            <p:spPr>
              <a:xfrm>
                <a:off x="2275736" y="2389655"/>
                <a:ext cx="471909" cy="232126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algn="ctr"/>
                <a:r>
                  <a:rPr lang="ru-RU" sz="600" b="1" dirty="0">
                    <a:solidFill>
                      <a:srgbClr val="002060"/>
                    </a:solidFill>
                    <a:latin typeface="Calibri" panose="020F0502020204030204" pitchFamily="34" charset="0"/>
                  </a:rPr>
                  <a:t>17,1%</a:t>
                </a:r>
              </a:p>
            </p:txBody>
          </p:sp>
          <p:sp>
            <p:nvSpPr>
              <p:cNvPr id="229" name="Прямоугольник 228"/>
              <p:cNvSpPr/>
              <p:nvPr/>
            </p:nvSpPr>
            <p:spPr>
              <a:xfrm>
                <a:off x="3907648" y="2551790"/>
                <a:ext cx="423550" cy="232126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algn="ctr"/>
                <a:r>
                  <a:rPr lang="ru-RU" sz="600" b="1" dirty="0">
                    <a:solidFill>
                      <a:srgbClr val="002060"/>
                    </a:solidFill>
                    <a:latin typeface="Calibri" panose="020F0502020204030204" pitchFamily="34" charset="0"/>
                  </a:rPr>
                  <a:t>1,9%</a:t>
                </a:r>
              </a:p>
            </p:txBody>
          </p:sp>
          <p:sp>
            <p:nvSpPr>
              <p:cNvPr id="230" name="Прямоугольник 229"/>
              <p:cNvSpPr/>
              <p:nvPr/>
            </p:nvSpPr>
            <p:spPr>
              <a:xfrm>
                <a:off x="4860958" y="2973820"/>
                <a:ext cx="423550" cy="232126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algn="ctr"/>
                <a:r>
                  <a:rPr lang="ru-RU" sz="600" b="1" dirty="0">
                    <a:solidFill>
                      <a:srgbClr val="002060"/>
                    </a:solidFill>
                    <a:latin typeface="Calibri" panose="020F0502020204030204" pitchFamily="34" charset="0"/>
                  </a:rPr>
                  <a:t>1,5%</a:t>
                </a:r>
              </a:p>
            </p:txBody>
          </p:sp>
          <p:sp>
            <p:nvSpPr>
              <p:cNvPr id="231" name="Прямоугольник 230"/>
              <p:cNvSpPr/>
              <p:nvPr/>
            </p:nvSpPr>
            <p:spPr>
              <a:xfrm>
                <a:off x="5584440" y="2993917"/>
                <a:ext cx="423550" cy="232126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algn="ctr"/>
                <a:r>
                  <a:rPr lang="ru-RU" sz="600" b="1" dirty="0">
                    <a:solidFill>
                      <a:srgbClr val="002060"/>
                    </a:solidFill>
                    <a:latin typeface="Calibri" panose="020F0502020204030204" pitchFamily="34" charset="0"/>
                  </a:rPr>
                  <a:t>1,1%</a:t>
                </a:r>
              </a:p>
            </p:txBody>
          </p:sp>
          <p:sp>
            <p:nvSpPr>
              <p:cNvPr id="232" name="Прямоугольник 231"/>
              <p:cNvSpPr/>
              <p:nvPr/>
            </p:nvSpPr>
            <p:spPr>
              <a:xfrm>
                <a:off x="6641351" y="1868502"/>
                <a:ext cx="423550" cy="232126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algn="ctr"/>
                <a:r>
                  <a:rPr lang="ru-RU" sz="600" b="1" dirty="0">
                    <a:solidFill>
                      <a:srgbClr val="002060"/>
                    </a:solidFill>
                    <a:latin typeface="Calibri" panose="020F0502020204030204" pitchFamily="34" charset="0"/>
                  </a:rPr>
                  <a:t>1,6%</a:t>
                </a:r>
              </a:p>
            </p:txBody>
          </p:sp>
          <p:sp>
            <p:nvSpPr>
              <p:cNvPr id="233" name="Прямоугольник 232"/>
              <p:cNvSpPr/>
              <p:nvPr/>
            </p:nvSpPr>
            <p:spPr>
              <a:xfrm>
                <a:off x="7334690" y="2079516"/>
                <a:ext cx="423550" cy="232126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algn="ctr"/>
                <a:r>
                  <a:rPr lang="ru-RU" sz="600" b="1" dirty="0">
                    <a:solidFill>
                      <a:srgbClr val="002060"/>
                    </a:solidFill>
                    <a:latin typeface="Calibri" panose="020F0502020204030204" pitchFamily="34" charset="0"/>
                  </a:rPr>
                  <a:t>3,2%</a:t>
                </a:r>
              </a:p>
            </p:txBody>
          </p:sp>
          <p:sp>
            <p:nvSpPr>
              <p:cNvPr id="234" name="Прямоугольник 233"/>
              <p:cNvSpPr/>
              <p:nvPr/>
            </p:nvSpPr>
            <p:spPr>
              <a:xfrm>
                <a:off x="7173916" y="3014014"/>
                <a:ext cx="423550" cy="232126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algn="ctr"/>
                <a:r>
                  <a:rPr lang="ru-RU" sz="600" b="1" dirty="0">
                    <a:solidFill>
                      <a:srgbClr val="002060"/>
                    </a:solidFill>
                    <a:latin typeface="Calibri" panose="020F0502020204030204" pitchFamily="34" charset="0"/>
                  </a:rPr>
                  <a:t>1,8%</a:t>
                </a:r>
              </a:p>
            </p:txBody>
          </p:sp>
          <p:sp>
            <p:nvSpPr>
              <p:cNvPr id="235" name="Прямоугольник 234"/>
              <p:cNvSpPr/>
              <p:nvPr/>
            </p:nvSpPr>
            <p:spPr>
              <a:xfrm>
                <a:off x="6611208" y="3154690"/>
                <a:ext cx="423550" cy="232126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algn="ctr"/>
                <a:r>
                  <a:rPr lang="ru-RU" sz="600" b="1" dirty="0">
                    <a:solidFill>
                      <a:srgbClr val="002060"/>
                    </a:solidFill>
                    <a:latin typeface="Calibri" panose="020F0502020204030204" pitchFamily="34" charset="0"/>
                  </a:rPr>
                  <a:t>1,7%</a:t>
                </a:r>
              </a:p>
            </p:txBody>
          </p:sp>
          <p:sp>
            <p:nvSpPr>
              <p:cNvPr id="236" name="Прямоугольник 235"/>
              <p:cNvSpPr/>
              <p:nvPr/>
            </p:nvSpPr>
            <p:spPr>
              <a:xfrm>
                <a:off x="5023568" y="3958557"/>
                <a:ext cx="423550" cy="232126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algn="ctr"/>
                <a:r>
                  <a:rPr lang="ru-RU" sz="600" b="1" dirty="0">
                    <a:solidFill>
                      <a:srgbClr val="002060"/>
                    </a:solidFill>
                    <a:latin typeface="Calibri" panose="020F0502020204030204" pitchFamily="34" charset="0"/>
                  </a:rPr>
                  <a:t>2,0%</a:t>
                </a:r>
              </a:p>
            </p:txBody>
          </p:sp>
          <p:sp>
            <p:nvSpPr>
              <p:cNvPr id="237" name="Прямоугольник 236"/>
              <p:cNvSpPr/>
              <p:nvPr/>
            </p:nvSpPr>
            <p:spPr>
              <a:xfrm>
                <a:off x="3667040" y="5174409"/>
                <a:ext cx="423550" cy="232126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algn="ctr"/>
                <a:r>
                  <a:rPr lang="ru-RU" sz="600" b="1" dirty="0">
                    <a:solidFill>
                      <a:srgbClr val="002060"/>
                    </a:solidFill>
                    <a:latin typeface="Calibri" panose="020F0502020204030204" pitchFamily="34" charset="0"/>
                  </a:rPr>
                  <a:t>1,0%</a:t>
                </a:r>
              </a:p>
            </p:txBody>
          </p:sp>
          <p:sp>
            <p:nvSpPr>
              <p:cNvPr id="238" name="Прямоугольник 237"/>
              <p:cNvSpPr/>
              <p:nvPr/>
            </p:nvSpPr>
            <p:spPr>
              <a:xfrm>
                <a:off x="3003960" y="5816523"/>
                <a:ext cx="423550" cy="232126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algn="ctr"/>
                <a:r>
                  <a:rPr lang="ru-RU" sz="600" b="1" dirty="0">
                    <a:solidFill>
                      <a:srgbClr val="002060"/>
                    </a:solidFill>
                    <a:latin typeface="Calibri" panose="020F0502020204030204" pitchFamily="34" charset="0"/>
                  </a:rPr>
                  <a:t>1,4%</a:t>
                </a:r>
              </a:p>
            </p:txBody>
          </p:sp>
          <p:sp>
            <p:nvSpPr>
              <p:cNvPr id="239" name="Прямоугольник 238"/>
              <p:cNvSpPr/>
              <p:nvPr/>
            </p:nvSpPr>
            <p:spPr>
              <a:xfrm>
                <a:off x="2833138" y="6529956"/>
                <a:ext cx="423550" cy="232126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algn="ctr"/>
                <a:r>
                  <a:rPr lang="ru-RU" sz="600" b="1" dirty="0">
                    <a:solidFill>
                      <a:srgbClr val="002060"/>
                    </a:solidFill>
                    <a:latin typeface="Calibri" panose="020F0502020204030204" pitchFamily="34" charset="0"/>
                  </a:rPr>
                  <a:t>1,8%</a:t>
                </a:r>
              </a:p>
            </p:txBody>
          </p:sp>
          <p:sp>
            <p:nvSpPr>
              <p:cNvPr id="240" name="Прямоугольник 239"/>
              <p:cNvSpPr/>
              <p:nvPr/>
            </p:nvSpPr>
            <p:spPr>
              <a:xfrm>
                <a:off x="2911742" y="4382809"/>
                <a:ext cx="423550" cy="232126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algn="ctr"/>
                <a:r>
                  <a:rPr lang="ru-RU" sz="600" b="1" dirty="0">
                    <a:solidFill>
                      <a:srgbClr val="002060"/>
                    </a:solidFill>
                    <a:latin typeface="Calibri" panose="020F0502020204030204" pitchFamily="34" charset="0"/>
                  </a:rPr>
                  <a:t>1,4%</a:t>
                </a:r>
              </a:p>
            </p:txBody>
          </p:sp>
        </p:grpSp>
        <p:sp>
          <p:nvSpPr>
            <p:cNvPr id="241" name="Прямоугольник 240"/>
            <p:cNvSpPr/>
            <p:nvPr/>
          </p:nvSpPr>
          <p:spPr>
            <a:xfrm>
              <a:off x="2930278" y="4234009"/>
              <a:ext cx="655272" cy="232126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ru-RU" sz="600" b="1" dirty="0">
                  <a:latin typeface="Calibri" panose="020F0502020204030204" pitchFamily="34" charset="0"/>
                </a:rPr>
                <a:t>ВОРОНЕЖ</a:t>
              </a:r>
            </a:p>
          </p:txBody>
        </p:sp>
        <p:sp>
          <p:nvSpPr>
            <p:cNvPr id="242" name="Прямоугольник 241"/>
            <p:cNvSpPr/>
            <p:nvPr/>
          </p:nvSpPr>
          <p:spPr>
            <a:xfrm>
              <a:off x="6334832" y="4260055"/>
              <a:ext cx="657287" cy="232126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ru-RU" sz="600" b="1" dirty="0">
                  <a:latin typeface="Calibri" panose="020F0502020204030204" pitchFamily="34" charset="0"/>
                </a:rPr>
                <a:t>ОРЕНБУРГ</a:t>
              </a:r>
            </a:p>
          </p:txBody>
        </p:sp>
        <p:sp>
          <p:nvSpPr>
            <p:cNvPr id="243" name="Прямоугольник 242"/>
            <p:cNvSpPr/>
            <p:nvPr/>
          </p:nvSpPr>
          <p:spPr>
            <a:xfrm>
              <a:off x="5844803" y="2245507"/>
              <a:ext cx="580718" cy="232126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ru-RU" sz="600" b="1" dirty="0">
                  <a:latin typeface="Calibri" panose="020F0502020204030204" pitchFamily="34" charset="0"/>
                </a:rPr>
                <a:t>ИЖЕВСК</a:t>
              </a:r>
            </a:p>
          </p:txBody>
        </p:sp>
        <p:sp>
          <p:nvSpPr>
            <p:cNvPr id="244" name="Прямоугольник 243"/>
            <p:cNvSpPr/>
            <p:nvPr/>
          </p:nvSpPr>
          <p:spPr>
            <a:xfrm>
              <a:off x="1157677" y="3773676"/>
              <a:ext cx="560568" cy="232126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ru-RU" sz="600" b="1" dirty="0">
                  <a:latin typeface="Calibri" panose="020F0502020204030204" pitchFamily="34" charset="0"/>
                </a:rPr>
                <a:t>БРЯНСК</a:t>
              </a:r>
            </a:p>
          </p:txBody>
        </p:sp>
        <p:sp>
          <p:nvSpPr>
            <p:cNvPr id="245" name="Прямоугольник 244"/>
            <p:cNvSpPr/>
            <p:nvPr/>
          </p:nvSpPr>
          <p:spPr>
            <a:xfrm>
              <a:off x="1896150" y="4189216"/>
              <a:ext cx="496089" cy="232126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ru-RU" sz="600" b="1" dirty="0">
                  <a:latin typeface="Calibri" panose="020F0502020204030204" pitchFamily="34" charset="0"/>
                </a:rPr>
                <a:t>КУРСК</a:t>
              </a:r>
            </a:p>
          </p:txBody>
        </p:sp>
        <p:sp>
          <p:nvSpPr>
            <p:cNvPr id="246" name="Прямоугольник 245"/>
            <p:cNvSpPr/>
            <p:nvPr/>
          </p:nvSpPr>
          <p:spPr>
            <a:xfrm>
              <a:off x="1714639" y="2460811"/>
              <a:ext cx="488029" cy="232126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ru-RU" sz="600" b="1" dirty="0">
                  <a:latin typeface="Calibri" panose="020F0502020204030204" pitchFamily="34" charset="0"/>
                </a:rPr>
                <a:t>ТВЕРЬ</a:t>
              </a:r>
            </a:p>
          </p:txBody>
        </p:sp>
        <p:sp>
          <p:nvSpPr>
            <p:cNvPr id="247" name="Прямоугольник 246"/>
            <p:cNvSpPr/>
            <p:nvPr/>
          </p:nvSpPr>
          <p:spPr>
            <a:xfrm>
              <a:off x="708472" y="1793457"/>
              <a:ext cx="699601" cy="348189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ru-RU" sz="600" b="1" dirty="0">
                  <a:latin typeface="Calibri" panose="020F0502020204030204" pitchFamily="34" charset="0"/>
                </a:rPr>
                <a:t>ВЕЛИКИЙ</a:t>
              </a:r>
            </a:p>
            <a:p>
              <a:pPr algn="ctr"/>
              <a:r>
                <a:rPr lang="ru-RU" sz="600" b="1" dirty="0">
                  <a:latin typeface="Calibri" panose="020F0502020204030204" pitchFamily="34" charset="0"/>
                </a:rPr>
                <a:t>НОВГОРОД</a:t>
              </a:r>
            </a:p>
          </p:txBody>
        </p:sp>
        <p:sp>
          <p:nvSpPr>
            <p:cNvPr id="248" name="Прямоугольник 247"/>
            <p:cNvSpPr/>
            <p:nvPr/>
          </p:nvSpPr>
          <p:spPr>
            <a:xfrm>
              <a:off x="2808552" y="3119348"/>
              <a:ext cx="560568" cy="232126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ru-RU" sz="600" b="1" dirty="0">
                  <a:latin typeface="Calibri" panose="020F0502020204030204" pitchFamily="34" charset="0"/>
                </a:rPr>
                <a:t>РЯЗАНЬ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533665677"/>
      </p:ext>
    </p:extLst>
  </p:cSld>
  <p:clrMapOvr>
    <a:masterClrMapping/>
  </p:clrMapOvr>
  <p:transition spd="slow">
    <p:wip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>
          <a:xfrm>
            <a:off x="8946141" y="7287622"/>
            <a:ext cx="1503437" cy="180001"/>
          </a:xfrm>
        </p:spPr>
        <p:txBody>
          <a:bodyPr/>
          <a:lstStyle/>
          <a:p>
            <a:fld id="{4D9AA05C-72EC-4F9A-8F8A-11CCF44C0B56}" type="slidenum">
              <a:rPr lang="ru-RU" smtClean="0"/>
              <a:pPr/>
              <a:t>4</a:t>
            </a:fld>
            <a:endParaRPr lang="ru-RU" dirty="0"/>
          </a:p>
        </p:txBody>
      </p:sp>
      <p:sp>
        <p:nvSpPr>
          <p:cNvPr id="4" name="Заголовок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КЛЮЧЕВЫЕ ОЖИДАЕМЫЕ РЕЗУЛЬТАТЫ</a:t>
            </a:r>
            <a:br>
              <a:rPr lang="ru-RU" dirty="0"/>
            </a:br>
            <a:r>
              <a:rPr lang="ru-RU" dirty="0"/>
              <a:t>РАЗВИТИЯ СЕТИ К 2035 ГОДУ</a:t>
            </a: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F8A1A488-4607-4BEF-9647-52709AE4E8C5}"/>
              </a:ext>
            </a:extLst>
          </p:cNvPr>
          <p:cNvSpPr txBox="1"/>
          <p:nvPr/>
        </p:nvSpPr>
        <p:spPr>
          <a:xfrm>
            <a:off x="840420" y="1028771"/>
            <a:ext cx="313014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Приоритеты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государства</a:t>
            </a:r>
          </a:p>
        </p:txBody>
      </p:sp>
      <p:pic>
        <p:nvPicPr>
          <p:cNvPr id="50" name="Рисунок 135">
            <a:extLst>
              <a:ext uri="{FF2B5EF4-FFF2-40B4-BE49-F238E27FC236}">
                <a16:creationId xmlns:a16="http://schemas.microsoft.com/office/drawing/2014/main" id="{E6F27D42-8FF8-41C7-9B6A-B2853FFA0759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33404" y="963342"/>
            <a:ext cx="457412" cy="458629"/>
          </a:xfrm>
          <a:prstGeom prst="rect">
            <a:avLst/>
          </a:prstGeom>
        </p:spPr>
      </p:pic>
      <p:pic>
        <p:nvPicPr>
          <p:cNvPr id="51" name="Рисунок 136">
            <a:extLst>
              <a:ext uri="{FF2B5EF4-FFF2-40B4-BE49-F238E27FC236}">
                <a16:creationId xmlns:a16="http://schemas.microsoft.com/office/drawing/2014/main" id="{5FDD94D3-90B9-4A5C-8B30-D0B92AD6CA7D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375631" y="964056"/>
            <a:ext cx="457200" cy="457200"/>
          </a:xfrm>
          <a:prstGeom prst="rect">
            <a:avLst/>
          </a:prstGeom>
        </p:spPr>
      </p:pic>
      <p:sp>
        <p:nvSpPr>
          <p:cNvPr id="52" name="Rectangle 31">
            <a:extLst>
              <a:ext uri="{FF2B5EF4-FFF2-40B4-BE49-F238E27FC236}">
                <a16:creationId xmlns:a16="http://schemas.microsoft.com/office/drawing/2014/main" id="{B1C5A26A-58A0-48B1-9AAD-B1C54E285D1F}"/>
              </a:ext>
            </a:extLst>
          </p:cNvPr>
          <p:cNvSpPr/>
          <p:nvPr/>
        </p:nvSpPr>
        <p:spPr>
          <a:xfrm>
            <a:off x="371155" y="1488345"/>
            <a:ext cx="9960660" cy="1344608"/>
          </a:xfrm>
          <a:prstGeom prst="rect">
            <a:avLst/>
          </a:prstGeom>
          <a:solidFill>
            <a:srgbClr val="FBE9E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57B7ABAA-7D05-4D7F-A271-2C2395231347}"/>
              </a:ext>
            </a:extLst>
          </p:cNvPr>
          <p:cNvSpPr txBox="1"/>
          <p:nvPr/>
        </p:nvSpPr>
        <p:spPr>
          <a:xfrm>
            <a:off x="542199" y="1626400"/>
            <a:ext cx="440590" cy="407561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900" b="1" i="0" u="none" strike="noStrike" kern="1200" cap="none" spc="0" normalizeH="0" baseline="0" noProof="0" dirty="0">
                <a:ln>
                  <a:noFill/>
                </a:ln>
                <a:solidFill>
                  <a:srgbClr val="E94E14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1</a:t>
            </a:r>
          </a:p>
        </p:txBody>
      </p:sp>
      <p:pic>
        <p:nvPicPr>
          <p:cNvPr id="54" name="Рисунок 39">
            <a:extLst>
              <a:ext uri="{FF2B5EF4-FFF2-40B4-BE49-F238E27FC236}">
                <a16:creationId xmlns:a16="http://schemas.microsoft.com/office/drawing/2014/main" id="{38329E9C-63DA-4C03-9A44-F8026A7A25CA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558715" y="2287339"/>
            <a:ext cx="407558" cy="407560"/>
          </a:xfrm>
          <a:prstGeom prst="rect">
            <a:avLst/>
          </a:prstGeom>
        </p:spPr>
      </p:pic>
      <p:sp>
        <p:nvSpPr>
          <p:cNvPr id="55" name="Arrow: Chevron 37">
            <a:extLst>
              <a:ext uri="{FF2B5EF4-FFF2-40B4-BE49-F238E27FC236}">
                <a16:creationId xmlns:a16="http://schemas.microsoft.com/office/drawing/2014/main" id="{3805B8BF-6E39-4DE5-8C6E-582720D1D0B9}"/>
              </a:ext>
            </a:extLst>
          </p:cNvPr>
          <p:cNvSpPr/>
          <p:nvPr/>
        </p:nvSpPr>
        <p:spPr>
          <a:xfrm>
            <a:off x="3181484" y="1488345"/>
            <a:ext cx="470550" cy="1344608"/>
          </a:xfrm>
          <a:prstGeom prst="chevron">
            <a:avLst>
              <a:gd name="adj" fmla="val 87775"/>
            </a:avLst>
          </a:prstGeom>
          <a:solidFill>
            <a:srgbClr val="E94E1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6" name="Rectangle 41">
            <a:extLst>
              <a:ext uri="{FF2B5EF4-FFF2-40B4-BE49-F238E27FC236}">
                <a16:creationId xmlns:a16="http://schemas.microsoft.com/office/drawing/2014/main" id="{95DAC511-7325-4AE8-BB1D-7670DE8C3D3D}"/>
              </a:ext>
            </a:extLst>
          </p:cNvPr>
          <p:cNvSpPr/>
          <p:nvPr/>
        </p:nvSpPr>
        <p:spPr>
          <a:xfrm>
            <a:off x="1203344" y="1488345"/>
            <a:ext cx="2091096" cy="1344608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/>
          <a:p>
            <a:pPr lvl="0"/>
            <a:r>
              <a:rPr lang="ru-RU" sz="16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вязанность территорий</a:t>
            </a:r>
          </a:p>
        </p:txBody>
      </p:sp>
      <p:sp>
        <p:nvSpPr>
          <p:cNvPr id="57" name="Rectangle 45">
            <a:extLst>
              <a:ext uri="{FF2B5EF4-FFF2-40B4-BE49-F238E27FC236}">
                <a16:creationId xmlns:a16="http://schemas.microsoft.com/office/drawing/2014/main" id="{3813A60C-EBFD-4513-B853-A497A13A9B6E}"/>
              </a:ext>
            </a:extLst>
          </p:cNvPr>
          <p:cNvSpPr/>
          <p:nvPr/>
        </p:nvSpPr>
        <p:spPr>
          <a:xfrm>
            <a:off x="3958205" y="1488345"/>
            <a:ext cx="6204897" cy="1344608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/>
          <a:p>
            <a:pPr marL="285750" lvl="0" indent="-285750" defTabSz="1375467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2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олее </a:t>
            </a:r>
            <a:r>
              <a:rPr lang="ru-RU" sz="1200" b="1" dirty="0">
                <a:solidFill>
                  <a:srgbClr val="E94E1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7 000 км </a:t>
            </a:r>
            <a:r>
              <a:rPr lang="ru-RU" sz="12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коростных автомобильных дорог в портфеле компании</a:t>
            </a:r>
          </a:p>
          <a:p>
            <a:pPr marL="285750" lvl="0" indent="-285750" defTabSz="1375467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2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коростными дорогами будет «охвачено» </a:t>
            </a:r>
            <a:r>
              <a:rPr lang="ru-RU" sz="1200" b="1" dirty="0">
                <a:solidFill>
                  <a:srgbClr val="E94E1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8 регионов Российской Федерации, </a:t>
            </a:r>
            <a:br>
              <a:rPr lang="ru-RU" sz="1200" b="1" dirty="0">
                <a:solidFill>
                  <a:srgbClr val="E94E14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2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де проживает </a:t>
            </a:r>
            <a:r>
              <a:rPr lang="ru-RU" sz="1200" b="1" dirty="0">
                <a:solidFill>
                  <a:srgbClr val="E94E1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9% населения страны, и на долю которых приходится</a:t>
            </a:r>
            <a:br>
              <a:rPr lang="en-US" sz="1200" b="1" dirty="0">
                <a:solidFill>
                  <a:srgbClr val="E94E14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200" b="1" dirty="0">
                <a:solidFill>
                  <a:srgbClr val="E94E1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9% общероссийского </a:t>
            </a:r>
            <a:r>
              <a:rPr lang="en-US" sz="1200" b="1" dirty="0">
                <a:solidFill>
                  <a:srgbClr val="E94E1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b="1" dirty="0">
                <a:solidFill>
                  <a:srgbClr val="E94E1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РП</a:t>
            </a: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3ACD4F6B-BA6F-4143-972F-4B97C3A107A9}"/>
              </a:ext>
            </a:extLst>
          </p:cNvPr>
          <p:cNvSpPr txBox="1"/>
          <p:nvPr/>
        </p:nvSpPr>
        <p:spPr>
          <a:xfrm>
            <a:off x="4690816" y="1028771"/>
            <a:ext cx="290925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/>
            <a:r>
              <a:rPr lang="ru-RU" sz="14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езультаты к 2035 году</a:t>
            </a:r>
          </a:p>
        </p:txBody>
      </p:sp>
      <p:sp>
        <p:nvSpPr>
          <p:cNvPr id="59" name="Rectangle 49">
            <a:extLst>
              <a:ext uri="{FF2B5EF4-FFF2-40B4-BE49-F238E27FC236}">
                <a16:creationId xmlns:a16="http://schemas.microsoft.com/office/drawing/2014/main" id="{1C710CF9-1EB8-4D51-9C5B-CBA7FC947A5D}"/>
              </a:ext>
            </a:extLst>
          </p:cNvPr>
          <p:cNvSpPr/>
          <p:nvPr/>
        </p:nvSpPr>
        <p:spPr>
          <a:xfrm>
            <a:off x="371155" y="2916811"/>
            <a:ext cx="9960660" cy="1344608"/>
          </a:xfrm>
          <a:prstGeom prst="rect">
            <a:avLst/>
          </a:prstGeom>
          <a:solidFill>
            <a:srgbClr val="FBE9E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5147B5CC-2301-4EB0-8283-F134C0E8B4AB}"/>
              </a:ext>
            </a:extLst>
          </p:cNvPr>
          <p:cNvSpPr txBox="1"/>
          <p:nvPr/>
        </p:nvSpPr>
        <p:spPr>
          <a:xfrm>
            <a:off x="542199" y="3054866"/>
            <a:ext cx="440590" cy="407561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900" b="1" i="0" u="none" strike="noStrike" kern="1200" cap="none" spc="0" normalizeH="0" baseline="0" noProof="0" dirty="0">
                <a:ln>
                  <a:noFill/>
                </a:ln>
                <a:solidFill>
                  <a:srgbClr val="E94E14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2</a:t>
            </a:r>
            <a:endParaRPr kumimoji="0" lang="ru-RU" sz="2900" b="1" i="0" u="none" strike="noStrike" kern="1200" cap="none" spc="0" normalizeH="0" baseline="0" noProof="0" dirty="0">
              <a:ln>
                <a:noFill/>
              </a:ln>
              <a:solidFill>
                <a:srgbClr val="E94E14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61" name="Arrow: Chevron 52">
            <a:extLst>
              <a:ext uri="{FF2B5EF4-FFF2-40B4-BE49-F238E27FC236}">
                <a16:creationId xmlns:a16="http://schemas.microsoft.com/office/drawing/2014/main" id="{AEF123B2-E443-4CA5-831A-F287F5A0EF18}"/>
              </a:ext>
            </a:extLst>
          </p:cNvPr>
          <p:cNvSpPr/>
          <p:nvPr/>
        </p:nvSpPr>
        <p:spPr>
          <a:xfrm>
            <a:off x="3181484" y="2916811"/>
            <a:ext cx="470550" cy="1344608"/>
          </a:xfrm>
          <a:prstGeom prst="chevron">
            <a:avLst>
              <a:gd name="adj" fmla="val 87775"/>
            </a:avLst>
          </a:prstGeom>
          <a:solidFill>
            <a:srgbClr val="E94E1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2" name="Rectangle 53">
            <a:extLst>
              <a:ext uri="{FF2B5EF4-FFF2-40B4-BE49-F238E27FC236}">
                <a16:creationId xmlns:a16="http://schemas.microsoft.com/office/drawing/2014/main" id="{A93807CC-63E4-4861-AC75-F5A537AF2230}"/>
              </a:ext>
            </a:extLst>
          </p:cNvPr>
          <p:cNvSpPr/>
          <p:nvPr/>
        </p:nvSpPr>
        <p:spPr>
          <a:xfrm>
            <a:off x="1203344" y="2916811"/>
            <a:ext cx="2091096" cy="1344608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/>
          <a:p>
            <a:pPr lvl="0"/>
            <a:r>
              <a:rPr lang="ru-RU" sz="16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обильность населения</a:t>
            </a:r>
          </a:p>
        </p:txBody>
      </p:sp>
      <p:sp>
        <p:nvSpPr>
          <p:cNvPr id="63" name="Rectangle 54">
            <a:extLst>
              <a:ext uri="{FF2B5EF4-FFF2-40B4-BE49-F238E27FC236}">
                <a16:creationId xmlns:a16="http://schemas.microsoft.com/office/drawing/2014/main" id="{F5D5AD11-5BB4-497C-A0B0-35839A4DDFA8}"/>
              </a:ext>
            </a:extLst>
          </p:cNvPr>
          <p:cNvSpPr/>
          <p:nvPr/>
        </p:nvSpPr>
        <p:spPr>
          <a:xfrm>
            <a:off x="3958205" y="2916811"/>
            <a:ext cx="6204897" cy="1344608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/>
          <a:p>
            <a:pPr marL="285750" lvl="0" indent="-285750" defTabSz="1375467">
              <a:lnSpc>
                <a:spcPct val="78571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2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т Балтийского моря до Черного моря – </a:t>
            </a:r>
            <a:r>
              <a:rPr lang="ru-RU" sz="1200" b="1" dirty="0">
                <a:solidFill>
                  <a:srgbClr val="E94E1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 400 км скоростных дорог,</a:t>
            </a:r>
            <a:br>
              <a:rPr lang="en-US" sz="1200" b="1" dirty="0">
                <a:solidFill>
                  <a:srgbClr val="E94E14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200" b="1" dirty="0">
                <a:solidFill>
                  <a:srgbClr val="E94E1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4 часа в пути</a:t>
            </a:r>
          </a:p>
          <a:p>
            <a:pPr marL="285750" lvl="0" indent="-285750" defTabSz="1375467">
              <a:lnSpc>
                <a:spcPct val="78571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2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т границы с Беларусью до г. Екатеринбурга – </a:t>
            </a:r>
            <a:r>
              <a:rPr lang="ru-RU" sz="1200" b="1" dirty="0">
                <a:solidFill>
                  <a:srgbClr val="E94E1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 200 км скоростных дорог,</a:t>
            </a:r>
            <a:br>
              <a:rPr lang="en-US" sz="1200" b="1" dirty="0">
                <a:solidFill>
                  <a:srgbClr val="E94E14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200" b="1" dirty="0">
                <a:solidFill>
                  <a:srgbClr val="E94E1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2 часа в пути (вместо 32)</a:t>
            </a:r>
          </a:p>
          <a:p>
            <a:pPr marL="285750" lvl="0" indent="-285750" defTabSz="1375467">
              <a:lnSpc>
                <a:spcPct val="78571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2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т  Екатеринбурга до Черного моря – </a:t>
            </a:r>
            <a:r>
              <a:rPr lang="ru-RU" sz="1200" b="1" dirty="0">
                <a:solidFill>
                  <a:srgbClr val="E94E1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200 км скоростных дорог,</a:t>
            </a:r>
            <a:br>
              <a:rPr lang="en-US" sz="1200" b="1" dirty="0">
                <a:solidFill>
                  <a:srgbClr val="E94E14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200" b="1" dirty="0">
                <a:solidFill>
                  <a:srgbClr val="E94E1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2 часа в пути (вместо 33 часов)</a:t>
            </a:r>
          </a:p>
          <a:p>
            <a:pPr marL="285750" lvl="0" indent="-285750" defTabSz="1375467">
              <a:lnSpc>
                <a:spcPct val="78571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2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коростная дорога вдоль Черного моря –  </a:t>
            </a:r>
            <a:r>
              <a:rPr lang="ru-RU" sz="1200" b="1" dirty="0">
                <a:solidFill>
                  <a:srgbClr val="E94E1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30 км (2 часа в пути вместо 6 часов)</a:t>
            </a:r>
          </a:p>
        </p:txBody>
      </p:sp>
      <p:sp>
        <p:nvSpPr>
          <p:cNvPr id="64" name="Rectangle 56">
            <a:extLst>
              <a:ext uri="{FF2B5EF4-FFF2-40B4-BE49-F238E27FC236}">
                <a16:creationId xmlns:a16="http://schemas.microsoft.com/office/drawing/2014/main" id="{9545C264-5F8B-41B5-BA0E-9126D0505EB4}"/>
              </a:ext>
            </a:extLst>
          </p:cNvPr>
          <p:cNvSpPr/>
          <p:nvPr/>
        </p:nvSpPr>
        <p:spPr>
          <a:xfrm>
            <a:off x="371155" y="4345277"/>
            <a:ext cx="9960660" cy="1344608"/>
          </a:xfrm>
          <a:prstGeom prst="rect">
            <a:avLst/>
          </a:prstGeom>
          <a:solidFill>
            <a:srgbClr val="FBE9E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id="{FB3C844E-9458-4536-8744-33C44200F081}"/>
              </a:ext>
            </a:extLst>
          </p:cNvPr>
          <p:cNvSpPr txBox="1"/>
          <p:nvPr/>
        </p:nvSpPr>
        <p:spPr>
          <a:xfrm>
            <a:off x="542199" y="4483332"/>
            <a:ext cx="440590" cy="407561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900" b="1" i="0" u="none" strike="noStrike" kern="1200" cap="none" spc="0" normalizeH="0" baseline="0" noProof="0" dirty="0">
                <a:ln>
                  <a:noFill/>
                </a:ln>
                <a:solidFill>
                  <a:srgbClr val="E94E14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3</a:t>
            </a:r>
            <a:endParaRPr kumimoji="0" lang="ru-RU" sz="2900" b="1" i="0" u="none" strike="noStrike" kern="1200" cap="none" spc="0" normalizeH="0" baseline="0" noProof="0" dirty="0">
              <a:ln>
                <a:noFill/>
              </a:ln>
              <a:solidFill>
                <a:srgbClr val="E94E14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66" name="Arrow: Chevron 59">
            <a:extLst>
              <a:ext uri="{FF2B5EF4-FFF2-40B4-BE49-F238E27FC236}">
                <a16:creationId xmlns:a16="http://schemas.microsoft.com/office/drawing/2014/main" id="{26B26794-8AC2-402F-8155-4033175A458E}"/>
              </a:ext>
            </a:extLst>
          </p:cNvPr>
          <p:cNvSpPr/>
          <p:nvPr/>
        </p:nvSpPr>
        <p:spPr>
          <a:xfrm>
            <a:off x="3181484" y="4345277"/>
            <a:ext cx="470550" cy="1344608"/>
          </a:xfrm>
          <a:prstGeom prst="chevron">
            <a:avLst>
              <a:gd name="adj" fmla="val 87775"/>
            </a:avLst>
          </a:prstGeom>
          <a:solidFill>
            <a:srgbClr val="E94E1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7" name="Rectangle 60">
            <a:extLst>
              <a:ext uri="{FF2B5EF4-FFF2-40B4-BE49-F238E27FC236}">
                <a16:creationId xmlns:a16="http://schemas.microsoft.com/office/drawing/2014/main" id="{E47E6723-F03F-4D22-8326-F2C38330DE7C}"/>
              </a:ext>
            </a:extLst>
          </p:cNvPr>
          <p:cNvSpPr/>
          <p:nvPr/>
        </p:nvSpPr>
        <p:spPr>
          <a:xfrm>
            <a:off x="1203344" y="4345277"/>
            <a:ext cx="2091096" cy="1344608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/>
          <a:p>
            <a:pPr lvl="0"/>
            <a:r>
              <a:rPr lang="ru-RU" sz="16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рузоперевозки</a:t>
            </a:r>
          </a:p>
        </p:txBody>
      </p:sp>
      <p:sp>
        <p:nvSpPr>
          <p:cNvPr id="68" name="Rectangle 61">
            <a:extLst>
              <a:ext uri="{FF2B5EF4-FFF2-40B4-BE49-F238E27FC236}">
                <a16:creationId xmlns:a16="http://schemas.microsoft.com/office/drawing/2014/main" id="{043F460F-5DCF-4A5B-ACFE-D83412D123AC}"/>
              </a:ext>
            </a:extLst>
          </p:cNvPr>
          <p:cNvSpPr/>
          <p:nvPr/>
        </p:nvSpPr>
        <p:spPr>
          <a:xfrm>
            <a:off x="3958205" y="4345277"/>
            <a:ext cx="6204897" cy="1344608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/>
          <a:p>
            <a:pPr marL="285750" lvl="0" indent="-285750" defTabSz="1375467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200" b="1" dirty="0">
                <a:solidFill>
                  <a:srgbClr val="E94E1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беспечение связанности </a:t>
            </a:r>
            <a:r>
              <a:rPr lang="ru-RU" sz="1200" dirty="0">
                <a:latin typeface="Arial" panose="020B0604020202020204" pitchFamily="34" charset="0"/>
                <a:cs typeface="Arial" panose="020B0604020202020204" pitchFamily="34" charset="0"/>
              </a:rPr>
              <a:t>скоростными автомобильными дорогами</a:t>
            </a:r>
            <a:b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200" b="1" dirty="0">
                <a:solidFill>
                  <a:srgbClr val="E94E1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е менее 11 центров генерации спроса</a:t>
            </a:r>
            <a:r>
              <a:rPr lang="ru-RU" sz="1200" dirty="0">
                <a:latin typeface="Arial" panose="020B0604020202020204" pitchFamily="34" charset="0"/>
                <a:cs typeface="Arial" panose="020B0604020202020204" pitchFamily="34" charset="0"/>
              </a:rPr>
              <a:t> на автомобильные перевозки</a:t>
            </a:r>
            <a:b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200" dirty="0">
                <a:latin typeface="Arial" panose="020B0604020202020204" pitchFamily="34" charset="0"/>
                <a:cs typeface="Arial" panose="020B0604020202020204" pitchFamily="34" charset="0"/>
              </a:rPr>
              <a:t>(перспективные центры экономического роста и пункты пропуска через границу)</a:t>
            </a:r>
          </a:p>
          <a:p>
            <a:pPr marL="285750" lvl="0" indent="-285750" defTabSz="1375467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200" b="1" dirty="0">
                <a:solidFill>
                  <a:srgbClr val="E94E1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величение скорости грузоперевозок</a:t>
            </a:r>
            <a:r>
              <a:rPr lang="ru-RU" sz="1200" dirty="0">
                <a:latin typeface="Arial" panose="020B0604020202020204" pitchFamily="34" charset="0"/>
                <a:cs typeface="Arial" panose="020B0604020202020204" pitchFamily="34" charset="0"/>
              </a:rPr>
              <a:t> с текущих 500-600 км/сут</a:t>
            </a:r>
            <a:b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200" dirty="0">
                <a:latin typeface="Arial" panose="020B0604020202020204" pitchFamily="34" charset="0"/>
                <a:cs typeface="Arial" panose="020B0604020202020204" pitchFamily="34" charset="0"/>
              </a:rPr>
              <a:t>до 1100 км/сут на объектах сети скоростных дорог</a:t>
            </a:r>
          </a:p>
        </p:txBody>
      </p:sp>
      <p:sp>
        <p:nvSpPr>
          <p:cNvPr id="69" name="Rectangle 63">
            <a:extLst>
              <a:ext uri="{FF2B5EF4-FFF2-40B4-BE49-F238E27FC236}">
                <a16:creationId xmlns:a16="http://schemas.microsoft.com/office/drawing/2014/main" id="{289F592B-69F1-4582-A42A-ADE7CBA7D6BD}"/>
              </a:ext>
            </a:extLst>
          </p:cNvPr>
          <p:cNvSpPr/>
          <p:nvPr/>
        </p:nvSpPr>
        <p:spPr>
          <a:xfrm>
            <a:off x="371155" y="5773743"/>
            <a:ext cx="9960660" cy="1344608"/>
          </a:xfrm>
          <a:prstGeom prst="rect">
            <a:avLst/>
          </a:prstGeom>
          <a:solidFill>
            <a:srgbClr val="FBE9E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0" name="TextBox 69">
            <a:extLst>
              <a:ext uri="{FF2B5EF4-FFF2-40B4-BE49-F238E27FC236}">
                <a16:creationId xmlns:a16="http://schemas.microsoft.com/office/drawing/2014/main" id="{87745D6C-DEBE-4495-9E0E-324D4A1017EB}"/>
              </a:ext>
            </a:extLst>
          </p:cNvPr>
          <p:cNvSpPr txBox="1"/>
          <p:nvPr/>
        </p:nvSpPr>
        <p:spPr>
          <a:xfrm>
            <a:off x="542199" y="5911798"/>
            <a:ext cx="440590" cy="407561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900" b="1" i="0" u="none" strike="noStrike" kern="1200" cap="none" spc="0" normalizeH="0" baseline="0" noProof="0" dirty="0">
                <a:ln>
                  <a:noFill/>
                </a:ln>
                <a:solidFill>
                  <a:srgbClr val="E94E14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4</a:t>
            </a:r>
            <a:endParaRPr kumimoji="0" lang="ru-RU" sz="2900" b="1" i="0" u="none" strike="noStrike" kern="1200" cap="none" spc="0" normalizeH="0" baseline="0" noProof="0" dirty="0">
              <a:ln>
                <a:noFill/>
              </a:ln>
              <a:solidFill>
                <a:srgbClr val="E94E14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71" name="Arrow: Chevron 66">
            <a:extLst>
              <a:ext uri="{FF2B5EF4-FFF2-40B4-BE49-F238E27FC236}">
                <a16:creationId xmlns:a16="http://schemas.microsoft.com/office/drawing/2014/main" id="{F1E186AE-BD65-408E-B6FD-C6B20F4A5727}"/>
              </a:ext>
            </a:extLst>
          </p:cNvPr>
          <p:cNvSpPr/>
          <p:nvPr/>
        </p:nvSpPr>
        <p:spPr>
          <a:xfrm>
            <a:off x="3181484" y="5773743"/>
            <a:ext cx="470550" cy="1344608"/>
          </a:xfrm>
          <a:prstGeom prst="chevron">
            <a:avLst>
              <a:gd name="adj" fmla="val 87775"/>
            </a:avLst>
          </a:prstGeom>
          <a:solidFill>
            <a:srgbClr val="E94E1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2" name="Rectangle 67">
            <a:extLst>
              <a:ext uri="{FF2B5EF4-FFF2-40B4-BE49-F238E27FC236}">
                <a16:creationId xmlns:a16="http://schemas.microsoft.com/office/drawing/2014/main" id="{DD200464-4A1F-4268-989B-FED24C996132}"/>
              </a:ext>
            </a:extLst>
          </p:cNvPr>
          <p:cNvSpPr/>
          <p:nvPr/>
        </p:nvSpPr>
        <p:spPr>
          <a:xfrm>
            <a:off x="1203344" y="5773743"/>
            <a:ext cx="2091096" cy="1344608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/>
          <a:p>
            <a:pPr lvl="0"/>
            <a:r>
              <a:rPr lang="ru-RU" sz="16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Цифровизация</a:t>
            </a:r>
          </a:p>
        </p:txBody>
      </p:sp>
      <p:grpSp>
        <p:nvGrpSpPr>
          <p:cNvPr id="73" name="Группа 31">
            <a:extLst>
              <a:ext uri="{FF2B5EF4-FFF2-40B4-BE49-F238E27FC236}">
                <a16:creationId xmlns:a16="http://schemas.microsoft.com/office/drawing/2014/main" id="{E22AD764-78EF-4C2C-8BF3-0F2843FE1572}"/>
              </a:ext>
            </a:extLst>
          </p:cNvPr>
          <p:cNvGrpSpPr/>
          <p:nvPr/>
        </p:nvGrpSpPr>
        <p:grpSpPr>
          <a:xfrm>
            <a:off x="525714" y="3750047"/>
            <a:ext cx="473559" cy="339076"/>
            <a:chOff x="5966208" y="2874284"/>
            <a:chExt cx="409720" cy="293365"/>
          </a:xfrm>
        </p:grpSpPr>
        <p:pic>
          <p:nvPicPr>
            <p:cNvPr id="74" name="Рисунок 32">
              <a:extLst>
                <a:ext uri="{FF2B5EF4-FFF2-40B4-BE49-F238E27FC236}">
                  <a16:creationId xmlns:a16="http://schemas.microsoft.com/office/drawing/2014/main" id="{0B743661-CD44-402E-AEB3-563FAF48759D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966208" y="2874284"/>
              <a:ext cx="409720" cy="293365"/>
            </a:xfrm>
            <a:prstGeom prst="rect">
              <a:avLst/>
            </a:prstGeom>
          </p:spPr>
        </p:pic>
        <p:sp>
          <p:nvSpPr>
            <p:cNvPr id="75" name="Freeform 15">
              <a:extLst>
                <a:ext uri="{FF2B5EF4-FFF2-40B4-BE49-F238E27FC236}">
                  <a16:creationId xmlns:a16="http://schemas.microsoft.com/office/drawing/2014/main" id="{78629821-0626-4246-9114-7BFD04DF2B5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029926" y="2955425"/>
              <a:ext cx="149166" cy="107985"/>
            </a:xfrm>
            <a:custGeom>
              <a:avLst/>
              <a:gdLst>
                <a:gd name="T0" fmla="*/ 708 w 734"/>
                <a:gd name="T1" fmla="*/ 108 h 534"/>
                <a:gd name="T2" fmla="*/ 558 w 734"/>
                <a:gd name="T3" fmla="*/ 16 h 534"/>
                <a:gd name="T4" fmla="*/ 498 w 734"/>
                <a:gd name="T5" fmla="*/ 52 h 534"/>
                <a:gd name="T6" fmla="*/ 498 w 734"/>
                <a:gd name="T7" fmla="*/ 116 h 534"/>
                <a:gd name="T8" fmla="*/ 123 w 734"/>
                <a:gd name="T9" fmla="*/ 309 h 534"/>
                <a:gd name="T10" fmla="*/ 6 w 734"/>
                <a:gd name="T11" fmla="*/ 489 h 534"/>
                <a:gd name="T12" fmla="*/ 23 w 734"/>
                <a:gd name="T13" fmla="*/ 528 h 534"/>
                <a:gd name="T14" fmla="*/ 62 w 734"/>
                <a:gd name="T15" fmla="*/ 511 h 534"/>
                <a:gd name="T16" fmla="*/ 498 w 734"/>
                <a:gd name="T17" fmla="*/ 176 h 534"/>
                <a:gd name="T18" fmla="*/ 498 w 734"/>
                <a:gd name="T19" fmla="*/ 236 h 534"/>
                <a:gd name="T20" fmla="*/ 558 w 734"/>
                <a:gd name="T21" fmla="*/ 272 h 534"/>
                <a:gd name="T22" fmla="*/ 708 w 734"/>
                <a:gd name="T23" fmla="*/ 180 h 534"/>
                <a:gd name="T24" fmla="*/ 708 w 734"/>
                <a:gd name="T25" fmla="*/ 108 h 534"/>
                <a:gd name="T26" fmla="*/ 558 w 734"/>
                <a:gd name="T27" fmla="*/ 201 h 534"/>
                <a:gd name="T28" fmla="*/ 558 w 734"/>
                <a:gd name="T29" fmla="*/ 87 h 534"/>
                <a:gd name="T30" fmla="*/ 652 w 734"/>
                <a:gd name="T31" fmla="*/ 144 h 534"/>
                <a:gd name="T32" fmla="*/ 558 w 734"/>
                <a:gd name="T33" fmla="*/ 201 h 534"/>
                <a:gd name="T34" fmla="*/ 558 w 734"/>
                <a:gd name="T35" fmla="*/ 201 h 534"/>
                <a:gd name="T36" fmla="*/ 558 w 734"/>
                <a:gd name="T37" fmla="*/ 201 h 5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734" h="534">
                  <a:moveTo>
                    <a:pt x="708" y="108"/>
                  </a:moveTo>
                  <a:cubicBezTo>
                    <a:pt x="558" y="16"/>
                    <a:pt x="558" y="16"/>
                    <a:pt x="558" y="16"/>
                  </a:cubicBezTo>
                  <a:cubicBezTo>
                    <a:pt x="531" y="0"/>
                    <a:pt x="498" y="20"/>
                    <a:pt x="498" y="52"/>
                  </a:cubicBezTo>
                  <a:cubicBezTo>
                    <a:pt x="498" y="116"/>
                    <a:pt x="498" y="116"/>
                    <a:pt x="498" y="116"/>
                  </a:cubicBezTo>
                  <a:cubicBezTo>
                    <a:pt x="354" y="130"/>
                    <a:pt x="224" y="196"/>
                    <a:pt x="123" y="309"/>
                  </a:cubicBezTo>
                  <a:cubicBezTo>
                    <a:pt x="42" y="399"/>
                    <a:pt x="8" y="485"/>
                    <a:pt x="6" y="489"/>
                  </a:cubicBezTo>
                  <a:cubicBezTo>
                    <a:pt x="0" y="504"/>
                    <a:pt x="8" y="522"/>
                    <a:pt x="23" y="528"/>
                  </a:cubicBezTo>
                  <a:cubicBezTo>
                    <a:pt x="38" y="534"/>
                    <a:pt x="56" y="526"/>
                    <a:pt x="62" y="511"/>
                  </a:cubicBezTo>
                  <a:cubicBezTo>
                    <a:pt x="63" y="508"/>
                    <a:pt x="185" y="210"/>
                    <a:pt x="498" y="176"/>
                  </a:cubicBezTo>
                  <a:cubicBezTo>
                    <a:pt x="498" y="236"/>
                    <a:pt x="498" y="236"/>
                    <a:pt x="498" y="236"/>
                  </a:cubicBezTo>
                  <a:cubicBezTo>
                    <a:pt x="498" y="268"/>
                    <a:pt x="531" y="288"/>
                    <a:pt x="558" y="272"/>
                  </a:cubicBezTo>
                  <a:cubicBezTo>
                    <a:pt x="708" y="180"/>
                    <a:pt x="708" y="180"/>
                    <a:pt x="708" y="180"/>
                  </a:cubicBezTo>
                  <a:cubicBezTo>
                    <a:pt x="734" y="164"/>
                    <a:pt x="734" y="124"/>
                    <a:pt x="708" y="108"/>
                  </a:cubicBezTo>
                  <a:close/>
                  <a:moveTo>
                    <a:pt x="558" y="201"/>
                  </a:moveTo>
                  <a:cubicBezTo>
                    <a:pt x="558" y="87"/>
                    <a:pt x="558" y="87"/>
                    <a:pt x="558" y="87"/>
                  </a:cubicBezTo>
                  <a:cubicBezTo>
                    <a:pt x="652" y="144"/>
                    <a:pt x="652" y="144"/>
                    <a:pt x="652" y="144"/>
                  </a:cubicBezTo>
                  <a:lnTo>
                    <a:pt x="558" y="201"/>
                  </a:lnTo>
                  <a:close/>
                  <a:moveTo>
                    <a:pt x="558" y="201"/>
                  </a:moveTo>
                  <a:cubicBezTo>
                    <a:pt x="558" y="201"/>
                    <a:pt x="558" y="201"/>
                    <a:pt x="558" y="201"/>
                  </a:cubicBezTo>
                </a:path>
              </a:pathLst>
            </a:custGeom>
            <a:solidFill>
              <a:srgbClr val="E94F1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pic>
        <p:nvPicPr>
          <p:cNvPr id="76" name="Рисунок 34">
            <a:extLst>
              <a:ext uri="{FF2B5EF4-FFF2-40B4-BE49-F238E27FC236}">
                <a16:creationId xmlns:a16="http://schemas.microsoft.com/office/drawing/2014/main" id="{597D3271-7B03-48F9-9AB0-8C804AE44278}"/>
              </a:ext>
            </a:extLst>
          </p:cNvPr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7167" y="5111316"/>
            <a:ext cx="350654" cy="473470"/>
          </a:xfrm>
          <a:prstGeom prst="rect">
            <a:avLst/>
          </a:prstGeom>
        </p:spPr>
      </p:pic>
      <p:pic>
        <p:nvPicPr>
          <p:cNvPr id="77" name="Рисунок 35">
            <a:extLst>
              <a:ext uri="{FF2B5EF4-FFF2-40B4-BE49-F238E27FC236}">
                <a16:creationId xmlns:a16="http://schemas.microsoft.com/office/drawing/2014/main" id="{A38BA9DF-CBFA-45FF-A8B7-92232BF40680}"/>
              </a:ext>
            </a:extLst>
          </p:cNvPr>
          <p:cNvPicPr>
            <a:picLocks noChangeAspect="1"/>
          </p:cNvPicPr>
          <p:nvPr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48721" y="6540109"/>
            <a:ext cx="427546" cy="472816"/>
          </a:xfrm>
          <a:prstGeom prst="rect">
            <a:avLst/>
          </a:prstGeom>
        </p:spPr>
      </p:pic>
      <p:sp>
        <p:nvSpPr>
          <p:cNvPr id="78" name="Rectangle 33">
            <a:extLst>
              <a:ext uri="{FF2B5EF4-FFF2-40B4-BE49-F238E27FC236}">
                <a16:creationId xmlns:a16="http://schemas.microsoft.com/office/drawing/2014/main" id="{9795082F-128F-4AE6-9AE4-5677DECFAF98}"/>
              </a:ext>
            </a:extLst>
          </p:cNvPr>
          <p:cNvSpPr/>
          <p:nvPr/>
        </p:nvSpPr>
        <p:spPr>
          <a:xfrm>
            <a:off x="3958206" y="5773743"/>
            <a:ext cx="6204896" cy="1344608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/>
          <a:p>
            <a:pPr marL="285750" indent="-285750" defTabSz="1375467">
              <a:lnSpc>
                <a:spcPct val="91071"/>
              </a:lnSpc>
              <a:spcAft>
                <a:spcPts val="400"/>
              </a:spcAft>
              <a:buFont typeface="Arial" panose="020B0604020202020204" pitchFamily="34" charset="0"/>
              <a:buChar char="•"/>
            </a:pPr>
            <a:r>
              <a:rPr lang="ru-RU" sz="1200" dirty="0">
                <a:latin typeface="Arial" panose="020B0604020202020204" pitchFamily="34" charset="0"/>
                <a:cs typeface="Arial" panose="020B0604020202020204" pitchFamily="34" charset="0"/>
              </a:rPr>
              <a:t>Оснащение </a:t>
            </a:r>
            <a:r>
              <a:rPr lang="ru-RU" sz="1200" b="1" dirty="0">
                <a:solidFill>
                  <a:srgbClr val="E94E1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00%</a:t>
            </a:r>
            <a:r>
              <a:rPr lang="ru-RU" sz="1200" dirty="0">
                <a:latin typeface="Arial" panose="020B0604020202020204" pitchFamily="34" charset="0"/>
                <a:cs typeface="Arial" panose="020B0604020202020204" pitchFamily="34" charset="0"/>
              </a:rPr>
              <a:t> сети автомобильных дорог </a:t>
            </a:r>
            <a:r>
              <a:rPr lang="ru-RU" sz="1200" b="1" dirty="0">
                <a:solidFill>
                  <a:srgbClr val="E94E1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рхитектурой</a:t>
            </a:r>
            <a:r>
              <a:rPr lang="ru-RU" sz="12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b="1" dirty="0">
                <a:solidFill>
                  <a:srgbClr val="E94E1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нтеллектуальных транспортных систем и единым информационным пространством </a:t>
            </a:r>
            <a:r>
              <a:rPr lang="ru-RU" sz="12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marL="285750" lvl="0" indent="-285750" defTabSz="1375467">
              <a:lnSpc>
                <a:spcPct val="91071"/>
              </a:lnSpc>
              <a:spcAft>
                <a:spcPts val="400"/>
              </a:spcAft>
              <a:buFont typeface="Arial" panose="020B0604020202020204" pitchFamily="34" charset="0"/>
              <a:buChar char="•"/>
            </a:pPr>
            <a:r>
              <a:rPr lang="ru-RU" sz="1200" dirty="0">
                <a:latin typeface="Arial" panose="020B0604020202020204" pitchFamily="34" charset="0"/>
                <a:cs typeface="Arial" panose="020B0604020202020204" pitchFamily="34" charset="0"/>
              </a:rPr>
              <a:t>Создание условий для </a:t>
            </a:r>
            <a:r>
              <a:rPr lang="ru-RU" sz="1200" b="1" dirty="0">
                <a:solidFill>
                  <a:srgbClr val="E94E1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беспечения сквозного грузослежения </a:t>
            </a:r>
            <a:r>
              <a:rPr lang="ru-RU" sz="1200" dirty="0">
                <a:latin typeface="Arial" panose="020B0604020202020204" pitchFamily="34" charset="0"/>
                <a:cs typeface="Arial" panose="020B0604020202020204" pitchFamily="34" charset="0"/>
              </a:rPr>
              <a:t>на всем протяжении маршрута за счет наличия ИТС и возможности предоставления соответствующих сервисных услуг грузоотправителям</a:t>
            </a:r>
          </a:p>
          <a:p>
            <a:pPr marL="285750" lvl="0" indent="-285750" defTabSz="1375467">
              <a:lnSpc>
                <a:spcPct val="91071"/>
              </a:lnSpc>
              <a:spcAft>
                <a:spcPts val="400"/>
              </a:spcAft>
              <a:buFont typeface="Arial" panose="020B0604020202020204" pitchFamily="34" charset="0"/>
              <a:buChar char="•"/>
            </a:pPr>
            <a:r>
              <a:rPr lang="ru-RU" sz="1200" dirty="0">
                <a:latin typeface="Arial" panose="020B0604020202020204" pitchFamily="34" charset="0"/>
                <a:cs typeface="Arial" panose="020B0604020202020204" pitchFamily="34" charset="0"/>
              </a:rPr>
              <a:t>Создание условий для внедрения целевой</a:t>
            </a:r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dirty="0">
                <a:latin typeface="Arial" panose="020B0604020202020204" pitchFamily="34" charset="0"/>
                <a:cs typeface="Arial" panose="020B0604020202020204" pitchFamily="34" charset="0"/>
              </a:rPr>
              <a:t>системы</a:t>
            </a:r>
            <a:b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200" b="1" dirty="0">
                <a:solidFill>
                  <a:srgbClr val="E94E1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рузоперевозок с движением беспилотных транспортных средств</a:t>
            </a:r>
          </a:p>
        </p:txBody>
      </p:sp>
    </p:spTree>
    <p:extLst>
      <p:ext uri="{BB962C8B-B14F-4D97-AF65-F5344CB8AC3E}">
        <p14:creationId xmlns:p14="http://schemas.microsoft.com/office/powerpoint/2010/main" val="3420627098"/>
      </p:ext>
    </p:extLst>
  </p:cSld>
  <p:clrMapOvr>
    <a:masterClrMapping/>
  </p:clrMapOvr>
  <p:transition spd="slow">
    <p:wip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reeform: Shape 8">
            <a:extLst>
              <a:ext uri="{FF2B5EF4-FFF2-40B4-BE49-F238E27FC236}">
                <a16:creationId xmlns:a16="http://schemas.microsoft.com/office/drawing/2014/main" id="{27E960B7-B108-4268-A34B-14AB3CBA37A6}"/>
              </a:ext>
            </a:extLst>
          </p:cNvPr>
          <p:cNvSpPr/>
          <p:nvPr/>
        </p:nvSpPr>
        <p:spPr>
          <a:xfrm>
            <a:off x="679290" y="1753381"/>
            <a:ext cx="6893370" cy="4296886"/>
          </a:xfrm>
          <a:custGeom>
            <a:avLst/>
            <a:gdLst>
              <a:gd name="connsiteX0" fmla="*/ 4374360 w 8194438"/>
              <a:gd name="connsiteY0" fmla="*/ 0 h 5092029"/>
              <a:gd name="connsiteX1" fmla="*/ 4449067 w 8194438"/>
              <a:gd name="connsiteY1" fmla="*/ 20897 h 5092029"/>
              <a:gd name="connsiteX2" fmla="*/ 8080830 w 8194438"/>
              <a:gd name="connsiteY2" fmla="*/ 1586543 h 5092029"/>
              <a:gd name="connsiteX3" fmla="*/ 8194438 w 8194438"/>
              <a:gd name="connsiteY3" fmla="*/ 1655459 h 5092029"/>
              <a:gd name="connsiteX4" fmla="*/ 0 w 8194438"/>
              <a:gd name="connsiteY4" fmla="*/ 5092029 h 5092029"/>
              <a:gd name="connsiteX5" fmla="*/ 4374360 w 8194438"/>
              <a:gd name="connsiteY5" fmla="*/ 0 h 50920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194438" h="5092029">
                <a:moveTo>
                  <a:pt x="4374360" y="0"/>
                </a:moveTo>
                <a:lnTo>
                  <a:pt x="4449067" y="20897"/>
                </a:lnTo>
                <a:cubicBezTo>
                  <a:pt x="5731759" y="397466"/>
                  <a:pt x="6949317" y="926318"/>
                  <a:pt x="8080830" y="1586543"/>
                </a:cubicBezTo>
                <a:lnTo>
                  <a:pt x="8194438" y="1655459"/>
                </a:lnTo>
                <a:lnTo>
                  <a:pt x="0" y="5092029"/>
                </a:lnTo>
                <a:lnTo>
                  <a:pt x="4374360" y="0"/>
                </a:lnTo>
                <a:close/>
              </a:path>
            </a:pathLst>
          </a:custGeom>
          <a:solidFill>
            <a:schemeClr val="accent4">
              <a:lumMod val="20000"/>
              <a:lumOff val="80000"/>
              <a:alpha val="31000"/>
            </a:schemeClr>
          </a:solidFill>
          <a:ln>
            <a:solidFill>
              <a:schemeClr val="accent1">
                <a:shade val="50000"/>
                <a:alpha val="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342905"/>
            <a:endParaRPr lang="ru-RU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8" name="Freeform: Shape 7">
            <a:extLst>
              <a:ext uri="{FF2B5EF4-FFF2-40B4-BE49-F238E27FC236}">
                <a16:creationId xmlns:a16="http://schemas.microsoft.com/office/drawing/2014/main" id="{2171C535-2D9B-4335-902B-355E3B3DC61B}"/>
              </a:ext>
            </a:extLst>
          </p:cNvPr>
          <p:cNvSpPr/>
          <p:nvPr/>
        </p:nvSpPr>
        <p:spPr>
          <a:xfrm>
            <a:off x="626281" y="1704782"/>
            <a:ext cx="3686252" cy="4320501"/>
          </a:xfrm>
          <a:custGeom>
            <a:avLst/>
            <a:gdLst>
              <a:gd name="connsiteX0" fmla="*/ 0 w 4419315"/>
              <a:gd name="connsiteY0" fmla="*/ 0 h 5754171"/>
              <a:gd name="connsiteX1" fmla="*/ 423341 w 4419315"/>
              <a:gd name="connsiteY1" fmla="*/ 5691 h 5754171"/>
              <a:gd name="connsiteX2" fmla="*/ 4206929 w 4419315"/>
              <a:gd name="connsiteY2" fmla="*/ 550402 h 5754171"/>
              <a:gd name="connsiteX3" fmla="*/ 4419315 w 4419315"/>
              <a:gd name="connsiteY3" fmla="*/ 609812 h 5754171"/>
              <a:gd name="connsiteX4" fmla="*/ 0 w 4419315"/>
              <a:gd name="connsiteY4" fmla="*/ 5754171 h 5754171"/>
              <a:gd name="connsiteX5" fmla="*/ 0 w 4419315"/>
              <a:gd name="connsiteY5" fmla="*/ 0 h 5754171"/>
              <a:gd name="connsiteX0" fmla="*/ 0 w 4915261"/>
              <a:gd name="connsiteY0" fmla="*/ 0 h 5754171"/>
              <a:gd name="connsiteX1" fmla="*/ 423341 w 4915261"/>
              <a:gd name="connsiteY1" fmla="*/ 5691 h 5754171"/>
              <a:gd name="connsiteX2" fmla="*/ 4206929 w 4915261"/>
              <a:gd name="connsiteY2" fmla="*/ 550402 h 5754171"/>
              <a:gd name="connsiteX3" fmla="*/ 4915261 w 4915261"/>
              <a:gd name="connsiteY3" fmla="*/ 59622 h 5754171"/>
              <a:gd name="connsiteX4" fmla="*/ 0 w 4915261"/>
              <a:gd name="connsiteY4" fmla="*/ 5754171 h 5754171"/>
              <a:gd name="connsiteX5" fmla="*/ 0 w 4915261"/>
              <a:gd name="connsiteY5" fmla="*/ 0 h 5754171"/>
              <a:gd name="connsiteX0" fmla="*/ 0 w 4915261"/>
              <a:gd name="connsiteY0" fmla="*/ 158446 h 5912617"/>
              <a:gd name="connsiteX1" fmla="*/ 423341 w 4915261"/>
              <a:gd name="connsiteY1" fmla="*/ 164137 h 5912617"/>
              <a:gd name="connsiteX2" fmla="*/ 4400658 w 4915261"/>
              <a:gd name="connsiteY2" fmla="*/ 127662 h 5912617"/>
              <a:gd name="connsiteX3" fmla="*/ 4915261 w 4915261"/>
              <a:gd name="connsiteY3" fmla="*/ 218068 h 5912617"/>
              <a:gd name="connsiteX4" fmla="*/ 0 w 4915261"/>
              <a:gd name="connsiteY4" fmla="*/ 5912617 h 5912617"/>
              <a:gd name="connsiteX5" fmla="*/ 0 w 4915261"/>
              <a:gd name="connsiteY5" fmla="*/ 158446 h 5912617"/>
              <a:gd name="connsiteX0" fmla="*/ 0 w 4915261"/>
              <a:gd name="connsiteY0" fmla="*/ 38132 h 5792303"/>
              <a:gd name="connsiteX1" fmla="*/ 423341 w 4915261"/>
              <a:gd name="connsiteY1" fmla="*/ 43823 h 5792303"/>
              <a:gd name="connsiteX2" fmla="*/ 4400658 w 4915261"/>
              <a:gd name="connsiteY2" fmla="*/ 7348 h 5792303"/>
              <a:gd name="connsiteX3" fmla="*/ 4915261 w 4915261"/>
              <a:gd name="connsiteY3" fmla="*/ 97754 h 5792303"/>
              <a:gd name="connsiteX4" fmla="*/ 0 w 4915261"/>
              <a:gd name="connsiteY4" fmla="*/ 5792303 h 5792303"/>
              <a:gd name="connsiteX5" fmla="*/ 0 w 4915261"/>
              <a:gd name="connsiteY5" fmla="*/ 38132 h 5792303"/>
              <a:gd name="connsiteX0" fmla="*/ 0 w 4915261"/>
              <a:gd name="connsiteY0" fmla="*/ 46631 h 5800802"/>
              <a:gd name="connsiteX1" fmla="*/ 423341 w 4915261"/>
              <a:gd name="connsiteY1" fmla="*/ 52322 h 5800802"/>
              <a:gd name="connsiteX2" fmla="*/ 4400658 w 4915261"/>
              <a:gd name="connsiteY2" fmla="*/ 15847 h 5800802"/>
              <a:gd name="connsiteX3" fmla="*/ 4915261 w 4915261"/>
              <a:gd name="connsiteY3" fmla="*/ 106253 h 5800802"/>
              <a:gd name="connsiteX4" fmla="*/ 0 w 4915261"/>
              <a:gd name="connsiteY4" fmla="*/ 5800802 h 5800802"/>
              <a:gd name="connsiteX5" fmla="*/ 0 w 4915261"/>
              <a:gd name="connsiteY5" fmla="*/ 46631 h 58008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915261" h="5800802">
                <a:moveTo>
                  <a:pt x="0" y="46631"/>
                </a:moveTo>
                <a:lnTo>
                  <a:pt x="423341" y="52322"/>
                </a:lnTo>
                <a:cubicBezTo>
                  <a:pt x="1766936" y="9956"/>
                  <a:pt x="3150068" y="-19751"/>
                  <a:pt x="4400658" y="15847"/>
                </a:cubicBezTo>
                <a:lnTo>
                  <a:pt x="4915261" y="106253"/>
                </a:lnTo>
                <a:lnTo>
                  <a:pt x="0" y="5800802"/>
                </a:lnTo>
                <a:lnTo>
                  <a:pt x="0" y="46631"/>
                </a:lnTo>
                <a:close/>
              </a:path>
            </a:pathLst>
          </a:custGeom>
          <a:solidFill>
            <a:schemeClr val="accent2">
              <a:lumMod val="20000"/>
              <a:lumOff val="80000"/>
              <a:alpha val="31000"/>
            </a:schemeClr>
          </a:solidFill>
          <a:ln>
            <a:solidFill>
              <a:schemeClr val="accent1">
                <a:shade val="50000"/>
                <a:alpha val="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342905"/>
            <a:endParaRPr lang="ru-RU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A7D67A8D-AEE1-49BE-813F-34D0BAFCA843}"/>
              </a:ext>
            </a:extLst>
          </p:cNvPr>
          <p:cNvSpPr/>
          <p:nvPr/>
        </p:nvSpPr>
        <p:spPr>
          <a:xfrm>
            <a:off x="543826" y="3269331"/>
            <a:ext cx="9841864" cy="2793732"/>
          </a:xfrm>
          <a:custGeom>
            <a:avLst/>
            <a:gdLst>
              <a:gd name="connsiteX0" fmla="*/ 8224740 w 12266007"/>
              <a:gd name="connsiteY0" fmla="*/ 0 h 3449277"/>
              <a:gd name="connsiteX1" fmla="*/ 8476591 w 12266007"/>
              <a:gd name="connsiteY1" fmla="*/ 152776 h 3449277"/>
              <a:gd name="connsiteX2" fmla="*/ 11890241 w 12266007"/>
              <a:gd name="connsiteY2" fmla="*/ 3015478 h 3449277"/>
              <a:gd name="connsiteX3" fmla="*/ 12266007 w 12266007"/>
              <a:gd name="connsiteY3" fmla="*/ 3449277 h 3449277"/>
              <a:gd name="connsiteX4" fmla="*/ 0 w 12266007"/>
              <a:gd name="connsiteY4" fmla="*/ 3449277 h 3449277"/>
              <a:gd name="connsiteX5" fmla="*/ 8224740 w 12266007"/>
              <a:gd name="connsiteY5" fmla="*/ 0 h 3449277"/>
              <a:gd name="connsiteX0" fmla="*/ 8779486 w 12266007"/>
              <a:gd name="connsiteY0" fmla="*/ 0 h 3671301"/>
              <a:gd name="connsiteX1" fmla="*/ 8476591 w 12266007"/>
              <a:gd name="connsiteY1" fmla="*/ 374800 h 3671301"/>
              <a:gd name="connsiteX2" fmla="*/ 11890241 w 12266007"/>
              <a:gd name="connsiteY2" fmla="*/ 3237502 h 3671301"/>
              <a:gd name="connsiteX3" fmla="*/ 12266007 w 12266007"/>
              <a:gd name="connsiteY3" fmla="*/ 3671301 h 3671301"/>
              <a:gd name="connsiteX4" fmla="*/ 0 w 12266007"/>
              <a:gd name="connsiteY4" fmla="*/ 3671301 h 3671301"/>
              <a:gd name="connsiteX5" fmla="*/ 8779486 w 12266007"/>
              <a:gd name="connsiteY5" fmla="*/ 0 h 3671301"/>
              <a:gd name="connsiteX0" fmla="*/ 8779486 w 12266007"/>
              <a:gd name="connsiteY0" fmla="*/ 0 h 3671301"/>
              <a:gd name="connsiteX1" fmla="*/ 8994354 w 12266007"/>
              <a:gd name="connsiteY1" fmla="*/ 189781 h 3671301"/>
              <a:gd name="connsiteX2" fmla="*/ 11890241 w 12266007"/>
              <a:gd name="connsiteY2" fmla="*/ 3237502 h 3671301"/>
              <a:gd name="connsiteX3" fmla="*/ 12266007 w 12266007"/>
              <a:gd name="connsiteY3" fmla="*/ 3671301 h 3671301"/>
              <a:gd name="connsiteX4" fmla="*/ 0 w 12266007"/>
              <a:gd name="connsiteY4" fmla="*/ 3671301 h 3671301"/>
              <a:gd name="connsiteX5" fmla="*/ 8779486 w 12266007"/>
              <a:gd name="connsiteY5" fmla="*/ 0 h 3671301"/>
              <a:gd name="connsiteX0" fmla="*/ 8779486 w 12266007"/>
              <a:gd name="connsiteY0" fmla="*/ 0 h 3671301"/>
              <a:gd name="connsiteX1" fmla="*/ 8994354 w 12266007"/>
              <a:gd name="connsiteY1" fmla="*/ 189781 h 3671301"/>
              <a:gd name="connsiteX2" fmla="*/ 11890241 w 12266007"/>
              <a:gd name="connsiteY2" fmla="*/ 3237502 h 3671301"/>
              <a:gd name="connsiteX3" fmla="*/ 12266007 w 12266007"/>
              <a:gd name="connsiteY3" fmla="*/ 3671301 h 3671301"/>
              <a:gd name="connsiteX4" fmla="*/ 0 w 12266007"/>
              <a:gd name="connsiteY4" fmla="*/ 3671301 h 3671301"/>
              <a:gd name="connsiteX5" fmla="*/ 8779486 w 12266007"/>
              <a:gd name="connsiteY5" fmla="*/ 0 h 3671301"/>
              <a:gd name="connsiteX0" fmla="*/ 8844207 w 12266007"/>
              <a:gd name="connsiteY0" fmla="*/ 0 h 3699054"/>
              <a:gd name="connsiteX1" fmla="*/ 8994354 w 12266007"/>
              <a:gd name="connsiteY1" fmla="*/ 217534 h 3699054"/>
              <a:gd name="connsiteX2" fmla="*/ 11890241 w 12266007"/>
              <a:gd name="connsiteY2" fmla="*/ 3265255 h 3699054"/>
              <a:gd name="connsiteX3" fmla="*/ 12266007 w 12266007"/>
              <a:gd name="connsiteY3" fmla="*/ 3699054 h 3699054"/>
              <a:gd name="connsiteX4" fmla="*/ 0 w 12266007"/>
              <a:gd name="connsiteY4" fmla="*/ 3699054 h 3699054"/>
              <a:gd name="connsiteX5" fmla="*/ 8844207 w 12266007"/>
              <a:gd name="connsiteY5" fmla="*/ 0 h 3699054"/>
              <a:gd name="connsiteX0" fmla="*/ 8844207 w 12266007"/>
              <a:gd name="connsiteY0" fmla="*/ 0 h 3699054"/>
              <a:gd name="connsiteX1" fmla="*/ 9114549 w 12266007"/>
              <a:gd name="connsiteY1" fmla="*/ 208283 h 3699054"/>
              <a:gd name="connsiteX2" fmla="*/ 11890241 w 12266007"/>
              <a:gd name="connsiteY2" fmla="*/ 3265255 h 3699054"/>
              <a:gd name="connsiteX3" fmla="*/ 12266007 w 12266007"/>
              <a:gd name="connsiteY3" fmla="*/ 3699054 h 3699054"/>
              <a:gd name="connsiteX4" fmla="*/ 0 w 12266007"/>
              <a:gd name="connsiteY4" fmla="*/ 3699054 h 3699054"/>
              <a:gd name="connsiteX5" fmla="*/ 8844207 w 12266007"/>
              <a:gd name="connsiteY5" fmla="*/ 0 h 3699054"/>
              <a:gd name="connsiteX0" fmla="*/ 8844207 w 12266007"/>
              <a:gd name="connsiteY0" fmla="*/ 0 h 3699054"/>
              <a:gd name="connsiteX1" fmla="*/ 9114549 w 12266007"/>
              <a:gd name="connsiteY1" fmla="*/ 208283 h 3699054"/>
              <a:gd name="connsiteX2" fmla="*/ 11890241 w 12266007"/>
              <a:gd name="connsiteY2" fmla="*/ 3265255 h 3699054"/>
              <a:gd name="connsiteX3" fmla="*/ 12266007 w 12266007"/>
              <a:gd name="connsiteY3" fmla="*/ 3699054 h 3699054"/>
              <a:gd name="connsiteX4" fmla="*/ 0 w 12266007"/>
              <a:gd name="connsiteY4" fmla="*/ 3699054 h 3699054"/>
              <a:gd name="connsiteX5" fmla="*/ 8844207 w 12266007"/>
              <a:gd name="connsiteY5" fmla="*/ 0 h 3699054"/>
              <a:gd name="connsiteX0" fmla="*/ 8844207 w 12266007"/>
              <a:gd name="connsiteY0" fmla="*/ 0 h 3699054"/>
              <a:gd name="connsiteX1" fmla="*/ 9114549 w 12266007"/>
              <a:gd name="connsiteY1" fmla="*/ 208283 h 3699054"/>
              <a:gd name="connsiteX2" fmla="*/ 11927224 w 12266007"/>
              <a:gd name="connsiteY2" fmla="*/ 3246754 h 3699054"/>
              <a:gd name="connsiteX3" fmla="*/ 12266007 w 12266007"/>
              <a:gd name="connsiteY3" fmla="*/ 3699054 h 3699054"/>
              <a:gd name="connsiteX4" fmla="*/ 0 w 12266007"/>
              <a:gd name="connsiteY4" fmla="*/ 3699054 h 3699054"/>
              <a:gd name="connsiteX5" fmla="*/ 8844207 w 12266007"/>
              <a:gd name="connsiteY5" fmla="*/ 0 h 3699054"/>
              <a:gd name="connsiteX0" fmla="*/ 8844207 w 12266007"/>
              <a:gd name="connsiteY0" fmla="*/ 0 h 3699054"/>
              <a:gd name="connsiteX1" fmla="*/ 9114549 w 12266007"/>
              <a:gd name="connsiteY1" fmla="*/ 208283 h 3699054"/>
              <a:gd name="connsiteX2" fmla="*/ 11927224 w 12266007"/>
              <a:gd name="connsiteY2" fmla="*/ 3246754 h 3699054"/>
              <a:gd name="connsiteX3" fmla="*/ 12266007 w 12266007"/>
              <a:gd name="connsiteY3" fmla="*/ 3699054 h 3699054"/>
              <a:gd name="connsiteX4" fmla="*/ 0 w 12266007"/>
              <a:gd name="connsiteY4" fmla="*/ 3699054 h 3699054"/>
              <a:gd name="connsiteX5" fmla="*/ 8844207 w 12266007"/>
              <a:gd name="connsiteY5" fmla="*/ 0 h 3699054"/>
              <a:gd name="connsiteX0" fmla="*/ 8844207 w 12266007"/>
              <a:gd name="connsiteY0" fmla="*/ 0 h 3699054"/>
              <a:gd name="connsiteX1" fmla="*/ 9114549 w 12266007"/>
              <a:gd name="connsiteY1" fmla="*/ 208283 h 3699054"/>
              <a:gd name="connsiteX2" fmla="*/ 11927224 w 12266007"/>
              <a:gd name="connsiteY2" fmla="*/ 3246754 h 3699054"/>
              <a:gd name="connsiteX3" fmla="*/ 12266007 w 12266007"/>
              <a:gd name="connsiteY3" fmla="*/ 3699054 h 3699054"/>
              <a:gd name="connsiteX4" fmla="*/ 0 w 12266007"/>
              <a:gd name="connsiteY4" fmla="*/ 3699054 h 3699054"/>
              <a:gd name="connsiteX5" fmla="*/ 8844207 w 12266007"/>
              <a:gd name="connsiteY5" fmla="*/ 0 h 36990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266007" h="3699054">
                <a:moveTo>
                  <a:pt x="8844207" y="0"/>
                </a:moveTo>
                <a:cubicBezTo>
                  <a:pt x="8928157" y="50925"/>
                  <a:pt x="9030599" y="157358"/>
                  <a:pt x="9114549" y="208283"/>
                </a:cubicBezTo>
                <a:cubicBezTo>
                  <a:pt x="10258927" y="1264263"/>
                  <a:pt x="11074368" y="2080886"/>
                  <a:pt x="11927224" y="3246754"/>
                </a:cubicBezTo>
                <a:lnTo>
                  <a:pt x="12266007" y="3699054"/>
                </a:lnTo>
                <a:lnTo>
                  <a:pt x="0" y="3699054"/>
                </a:lnTo>
                <a:lnTo>
                  <a:pt x="8844207" y="0"/>
                </a:lnTo>
                <a:close/>
              </a:path>
            </a:pathLst>
          </a:custGeom>
          <a:solidFill>
            <a:schemeClr val="accent6">
              <a:lumMod val="20000"/>
              <a:lumOff val="80000"/>
              <a:alpha val="31000"/>
            </a:schemeClr>
          </a:solidFill>
          <a:ln>
            <a:solidFill>
              <a:schemeClr val="accent1">
                <a:shade val="50000"/>
                <a:alpha val="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342905"/>
            <a:endParaRPr lang="ru-RU" dirty="0">
              <a:solidFill>
                <a:prstClr val="white"/>
              </a:solidFill>
              <a:latin typeface="Calibri" panose="020F0502020204030204"/>
            </a:endParaRPr>
          </a:p>
        </p:txBody>
      </p:sp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87165EE-D807-4F9A-8F5A-7E05CD9037B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307446" y="946300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87165EE-D807-4F9A-8F5A-7E05CD9037B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307446" y="946300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C21275B2-6049-4ECE-9FC3-E8385A147967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306257" y="945110"/>
            <a:ext cx="119056" cy="11905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 defTabSz="342905"/>
            <a:endParaRPr lang="ru-RU" b="1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BDE31D36-0E15-40F1-BAF3-E015B49BFDD9}"/>
              </a:ext>
            </a:extLst>
          </p:cNvPr>
          <p:cNvCxnSpPr>
            <a:cxnSpLocks/>
          </p:cNvCxnSpPr>
          <p:nvPr/>
        </p:nvCxnSpPr>
        <p:spPr>
          <a:xfrm flipH="1">
            <a:off x="656366" y="1716205"/>
            <a:ext cx="3719415" cy="4336203"/>
          </a:xfrm>
          <a:prstGeom prst="line">
            <a:avLst/>
          </a:prstGeom>
          <a:ln w="22225">
            <a:solidFill>
              <a:srgbClr val="00B05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C0F29F66-D925-493B-9488-FEB8C3E90209}"/>
              </a:ext>
            </a:extLst>
          </p:cNvPr>
          <p:cNvCxnSpPr>
            <a:cxnSpLocks/>
          </p:cNvCxnSpPr>
          <p:nvPr/>
        </p:nvCxnSpPr>
        <p:spPr>
          <a:xfrm flipH="1">
            <a:off x="808963" y="3156671"/>
            <a:ext cx="6845827" cy="2870991"/>
          </a:xfrm>
          <a:prstGeom prst="line">
            <a:avLst/>
          </a:prstGeom>
          <a:ln w="22225">
            <a:solidFill>
              <a:srgbClr val="E94E14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Box 6">
            <a:extLst>
              <a:ext uri="{FF2B5EF4-FFF2-40B4-BE49-F238E27FC236}">
                <a16:creationId xmlns:a16="http://schemas.microsoft.com/office/drawing/2014/main" id="{E8964D4E-F965-4435-B5C3-11E0D41EE2E7}"/>
              </a:ext>
            </a:extLst>
          </p:cNvPr>
          <p:cNvSpPr txBox="1"/>
          <p:nvPr/>
        </p:nvSpPr>
        <p:spPr>
          <a:xfrm>
            <a:off x="154314" y="7291255"/>
            <a:ext cx="3892794" cy="20774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342905"/>
            <a:r>
              <a:rPr lang="ru-RU" sz="750" i="1" dirty="0">
                <a:solidFill>
                  <a:srgbClr val="B74919"/>
                </a:solidFill>
                <a:latin typeface="Arial" panose="020B0604020202020204" pitchFamily="34" charset="0"/>
              </a:rPr>
              <a:t>Источники: данные ГК «</a:t>
            </a:r>
            <a:r>
              <a:rPr lang="ru-RU" sz="750" i="1" dirty="0" err="1">
                <a:solidFill>
                  <a:srgbClr val="B74919"/>
                </a:solidFill>
                <a:latin typeface="Arial" panose="020B0604020202020204" pitchFamily="34" charset="0"/>
              </a:rPr>
              <a:t>Автодор</a:t>
            </a:r>
            <a:r>
              <a:rPr lang="ru-RU" sz="750" i="1" dirty="0">
                <a:solidFill>
                  <a:srgbClr val="B74919"/>
                </a:solidFill>
                <a:latin typeface="Arial" panose="020B0604020202020204" pitchFamily="34" charset="0"/>
              </a:rPr>
              <a:t>», открытые источники </a:t>
            </a:r>
            <a:endParaRPr lang="en-US" sz="750" i="1" dirty="0">
              <a:solidFill>
                <a:srgbClr val="B74919"/>
              </a:solidFill>
              <a:latin typeface="Arial" panose="020B0604020202020204" pitchFamily="34" charset="0"/>
            </a:endParaRPr>
          </a:p>
        </p:txBody>
      </p:sp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2D7D6886-300E-4CF1-9401-85D374DBE63F}"/>
              </a:ext>
            </a:extLst>
          </p:cNvPr>
          <p:cNvSpPr/>
          <p:nvPr/>
        </p:nvSpPr>
        <p:spPr>
          <a:xfrm>
            <a:off x="626279" y="2610045"/>
            <a:ext cx="8278995" cy="3461532"/>
          </a:xfrm>
          <a:custGeom>
            <a:avLst/>
            <a:gdLst>
              <a:gd name="connsiteX0" fmla="*/ 0 w 11041136"/>
              <a:gd name="connsiteY0" fmla="*/ 0 h 4725414"/>
              <a:gd name="connsiteX1" fmla="*/ 368780 w 11041136"/>
              <a:gd name="connsiteY1" fmla="*/ 4667 h 4725414"/>
              <a:gd name="connsiteX2" fmla="*/ 10818748 w 11041136"/>
              <a:gd name="connsiteY2" fmla="*/ 4492158 h 4725414"/>
              <a:gd name="connsiteX3" fmla="*/ 11041136 w 11041136"/>
              <a:gd name="connsiteY3" fmla="*/ 4725414 h 4725414"/>
              <a:gd name="connsiteX4" fmla="*/ 0 w 11041136"/>
              <a:gd name="connsiteY4" fmla="*/ 4725414 h 47254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041136" h="4725414">
                <a:moveTo>
                  <a:pt x="0" y="0"/>
                </a:moveTo>
                <a:lnTo>
                  <a:pt x="368780" y="4667"/>
                </a:lnTo>
                <a:cubicBezTo>
                  <a:pt x="4447088" y="107992"/>
                  <a:pt x="8129788" y="1803202"/>
                  <a:pt x="10818748" y="4492158"/>
                </a:cubicBezTo>
                <a:lnTo>
                  <a:pt x="11041136" y="4725414"/>
                </a:lnTo>
                <a:lnTo>
                  <a:pt x="0" y="4725414"/>
                </a:lnTo>
                <a:close/>
              </a:path>
            </a:pathLst>
          </a:cu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defTabSz="342905"/>
            <a:endParaRPr lang="ru-RU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4C9C715D-7F97-4777-AFBB-0B57FF3C6171}"/>
              </a:ext>
            </a:extLst>
          </p:cNvPr>
          <p:cNvSpPr/>
          <p:nvPr/>
        </p:nvSpPr>
        <p:spPr>
          <a:xfrm>
            <a:off x="626280" y="4034158"/>
            <a:ext cx="5181742" cy="2037419"/>
          </a:xfrm>
          <a:custGeom>
            <a:avLst/>
            <a:gdLst>
              <a:gd name="connsiteX0" fmla="*/ 0 w 8584063"/>
              <a:gd name="connsiteY0" fmla="*/ 0 h 3055254"/>
              <a:gd name="connsiteX1" fmla="*/ 545060 w 8584063"/>
              <a:gd name="connsiteY1" fmla="*/ 11202 h 3055254"/>
              <a:gd name="connsiteX2" fmla="*/ 8150921 w 8584063"/>
              <a:gd name="connsiteY2" fmla="*/ 2714873 h 3055254"/>
              <a:gd name="connsiteX3" fmla="*/ 8584063 w 8584063"/>
              <a:gd name="connsiteY3" fmla="*/ 3055254 h 3055254"/>
              <a:gd name="connsiteX4" fmla="*/ 0 w 8584063"/>
              <a:gd name="connsiteY4" fmla="*/ 3055254 h 30552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584063" h="3055254">
                <a:moveTo>
                  <a:pt x="0" y="0"/>
                </a:moveTo>
                <a:lnTo>
                  <a:pt x="545060" y="11202"/>
                </a:lnTo>
                <a:cubicBezTo>
                  <a:pt x="3391318" y="128406"/>
                  <a:pt x="6012977" y="1116001"/>
                  <a:pt x="8150921" y="2714873"/>
                </a:cubicBezTo>
                <a:lnTo>
                  <a:pt x="8584063" y="3055254"/>
                </a:lnTo>
                <a:lnTo>
                  <a:pt x="0" y="3055254"/>
                </a:lnTo>
                <a:close/>
              </a:path>
            </a:pathLst>
          </a:cu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68577" tIns="34289" rIns="68577" bIns="3428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342905"/>
            <a:endParaRPr lang="ru-RU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FE9D750C-6B6F-4B0D-98C0-123EB219CB5E}"/>
              </a:ext>
            </a:extLst>
          </p:cNvPr>
          <p:cNvSpPr txBox="1"/>
          <p:nvPr/>
        </p:nvSpPr>
        <p:spPr>
          <a:xfrm>
            <a:off x="1441314" y="1276879"/>
            <a:ext cx="2663152" cy="173939"/>
          </a:xfrm>
          <a:prstGeom prst="rect">
            <a:avLst/>
          </a:prstGeom>
          <a:noFill/>
        </p:spPr>
        <p:txBody>
          <a:bodyPr wrap="square" lIns="26999" tIns="0" rIns="26999" bIns="0" rtlCol="0" anchor="ctr">
            <a:noAutofit/>
          </a:bodyPr>
          <a:lstStyle/>
          <a:p>
            <a:pPr algn="ctr" defTabSz="342905"/>
            <a:r>
              <a:rPr lang="ru-RU" sz="1200" b="1" dirty="0">
                <a:solidFill>
                  <a:srgbClr val="00B050"/>
                </a:solidFill>
                <a:latin typeface="Arial" panose="020B0604020202020204" pitchFamily="34" charset="0"/>
              </a:rPr>
              <a:t>Безопасность: </a:t>
            </a:r>
            <a:br>
              <a:rPr lang="ru-RU" sz="1200" b="1" dirty="0">
                <a:solidFill>
                  <a:srgbClr val="00B050"/>
                </a:solidFill>
                <a:latin typeface="Arial" panose="020B0604020202020204" pitchFamily="34" charset="0"/>
              </a:rPr>
            </a:br>
            <a:r>
              <a:rPr lang="ru-RU" sz="1200" dirty="0">
                <a:solidFill>
                  <a:srgbClr val="00B050"/>
                </a:solidFill>
                <a:latin typeface="Arial" panose="020B0604020202020204" pitchFamily="34" charset="0"/>
              </a:rPr>
              <a:t>снижение смертности в 3,5 раза</a:t>
            </a:r>
            <a:endParaRPr lang="en-US" sz="1200" dirty="0">
              <a:solidFill>
                <a:srgbClr val="00B050"/>
              </a:solidFill>
              <a:latin typeface="Arial" panose="020B0604020202020204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525E977C-48C8-4D49-9878-476A76D465FC}"/>
              </a:ext>
            </a:extLst>
          </p:cNvPr>
          <p:cNvSpPr txBox="1"/>
          <p:nvPr/>
        </p:nvSpPr>
        <p:spPr>
          <a:xfrm>
            <a:off x="5612236" y="1617269"/>
            <a:ext cx="2277699" cy="296598"/>
          </a:xfrm>
          <a:prstGeom prst="rect">
            <a:avLst/>
          </a:prstGeom>
          <a:noFill/>
        </p:spPr>
        <p:txBody>
          <a:bodyPr wrap="square" lIns="26999" tIns="0" rIns="26999" bIns="0" rtlCol="0" anchor="ctr">
            <a:noAutofit/>
          </a:bodyPr>
          <a:lstStyle/>
          <a:p>
            <a:pPr algn="ctr" defTabSz="342905"/>
            <a:r>
              <a:rPr lang="ru-RU" sz="1200" b="1" dirty="0">
                <a:solidFill>
                  <a:srgbClr val="00338D"/>
                </a:solidFill>
                <a:latin typeface="Arial" panose="020B0604020202020204" pitchFamily="34" charset="0"/>
              </a:rPr>
              <a:t>Мобильность: </a:t>
            </a:r>
            <a:br>
              <a:rPr lang="ru-RU" sz="1200" b="1" dirty="0">
                <a:solidFill>
                  <a:srgbClr val="00338D"/>
                </a:solidFill>
                <a:latin typeface="Arial" panose="020B0604020202020204" pitchFamily="34" charset="0"/>
              </a:rPr>
            </a:br>
            <a:r>
              <a:rPr lang="ru-RU" sz="1200" dirty="0">
                <a:solidFill>
                  <a:srgbClr val="00338D"/>
                </a:solidFill>
                <a:latin typeface="Arial" panose="020B0604020202020204" pitchFamily="34" charset="0"/>
              </a:rPr>
              <a:t>+ 60 млн новых поездок, рост оборачиваемости грузовых транспортных средств</a:t>
            </a:r>
            <a:endParaRPr lang="en-US" sz="1200" dirty="0">
              <a:solidFill>
                <a:srgbClr val="00338D"/>
              </a:solidFill>
              <a:latin typeface="Arial" panose="020B0604020202020204" pitchFamily="34" charset="0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C25410D2-D97A-42FB-84A3-AF7B4465C9BA}"/>
              </a:ext>
            </a:extLst>
          </p:cNvPr>
          <p:cNvSpPr txBox="1"/>
          <p:nvPr/>
        </p:nvSpPr>
        <p:spPr>
          <a:xfrm>
            <a:off x="7786794" y="3138214"/>
            <a:ext cx="2566287" cy="139733"/>
          </a:xfrm>
          <a:prstGeom prst="rect">
            <a:avLst/>
          </a:prstGeom>
          <a:noFill/>
        </p:spPr>
        <p:txBody>
          <a:bodyPr wrap="square" lIns="26999" tIns="0" rIns="26999" bIns="0" rtlCol="0" anchor="ctr">
            <a:noAutofit/>
          </a:bodyPr>
          <a:lstStyle/>
          <a:p>
            <a:pPr algn="ctr" defTabSz="342905"/>
            <a:r>
              <a:rPr lang="ru-RU" sz="1200" b="1" dirty="0">
                <a:solidFill>
                  <a:srgbClr val="E94E14"/>
                </a:solidFill>
                <a:latin typeface="Arial" panose="020B0604020202020204" pitchFamily="34" charset="0"/>
              </a:rPr>
              <a:t>Цифровизация строительства и эксплуатации:</a:t>
            </a:r>
            <a:br>
              <a:rPr lang="ru-RU" sz="1200" b="1" dirty="0">
                <a:solidFill>
                  <a:srgbClr val="E94E14"/>
                </a:solidFill>
                <a:latin typeface="Arial" panose="020B0604020202020204" pitchFamily="34" charset="0"/>
              </a:rPr>
            </a:br>
            <a:r>
              <a:rPr lang="ru-RU" sz="1200" b="1" dirty="0">
                <a:solidFill>
                  <a:srgbClr val="E94E14"/>
                </a:solidFill>
                <a:latin typeface="Arial" panose="020B0604020202020204" pitchFamily="34" charset="0"/>
              </a:rPr>
              <a:t> </a:t>
            </a:r>
            <a:r>
              <a:rPr lang="ru-RU" sz="1200" dirty="0">
                <a:solidFill>
                  <a:srgbClr val="E94E14"/>
                </a:solidFill>
                <a:latin typeface="Arial" panose="020B0604020202020204" pitchFamily="34" charset="0"/>
              </a:rPr>
              <a:t>снижение стоимости жизненного цикла на 10%</a:t>
            </a:r>
            <a:endParaRPr lang="en-US" sz="1200" dirty="0">
              <a:solidFill>
                <a:srgbClr val="E94E14"/>
              </a:solidFill>
              <a:latin typeface="Arial" panose="020B0604020202020204" pitchFamily="34" charset="0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CDC5B2F3-7B17-4581-8D13-B9C0F34E74B8}"/>
              </a:ext>
            </a:extLst>
          </p:cNvPr>
          <p:cNvSpPr txBox="1"/>
          <p:nvPr/>
        </p:nvSpPr>
        <p:spPr>
          <a:xfrm>
            <a:off x="808966" y="6083001"/>
            <a:ext cx="3819786" cy="253902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ctr" defTabSz="342905"/>
            <a:r>
              <a:rPr lang="ru-RU" sz="1200" b="1" dirty="0">
                <a:solidFill>
                  <a:srgbClr val="E94E14"/>
                </a:solidFill>
                <a:latin typeface="Arial" panose="020B0604020202020204" pitchFamily="34" charset="0"/>
              </a:rPr>
              <a:t>В активном использовании</a:t>
            </a:r>
            <a:endParaRPr lang="en-US" sz="1200" b="1" dirty="0">
              <a:solidFill>
                <a:srgbClr val="E94E14"/>
              </a:solidFill>
              <a:latin typeface="Arial" panose="020B0604020202020204" pitchFamily="34" charset="0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6B78E05C-FA44-482A-8F8B-C59A5E93562F}"/>
              </a:ext>
            </a:extLst>
          </p:cNvPr>
          <p:cNvSpPr txBox="1"/>
          <p:nvPr/>
        </p:nvSpPr>
        <p:spPr>
          <a:xfrm>
            <a:off x="5765752" y="6075624"/>
            <a:ext cx="3218853" cy="253902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ctr" defTabSz="342905"/>
            <a:r>
              <a:rPr lang="ru-RU" sz="1200" b="1" dirty="0">
                <a:solidFill>
                  <a:srgbClr val="E94E14"/>
                </a:solidFill>
                <a:latin typeface="Arial" panose="020B0604020202020204" pitchFamily="34" charset="0"/>
              </a:rPr>
              <a:t>Тестируются, опытная эксплуатация</a:t>
            </a:r>
            <a:endParaRPr lang="en-US" sz="1200" b="1" dirty="0">
              <a:solidFill>
                <a:srgbClr val="E94E14"/>
              </a:solidFill>
              <a:latin typeface="Arial" panose="020B0604020202020204" pitchFamily="34" charset="0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7666D208-5CF2-4C3F-B1CA-F9B5BBC93E73}"/>
              </a:ext>
            </a:extLst>
          </p:cNvPr>
          <p:cNvSpPr txBox="1"/>
          <p:nvPr/>
        </p:nvSpPr>
        <p:spPr>
          <a:xfrm>
            <a:off x="8784973" y="6068424"/>
            <a:ext cx="1227990" cy="253902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ctr" defTabSz="342905"/>
            <a:r>
              <a:rPr lang="ru-RU" sz="1200" b="1" dirty="0">
                <a:solidFill>
                  <a:srgbClr val="E94E14"/>
                </a:solidFill>
                <a:latin typeface="Arial" panose="020B0604020202020204" pitchFamily="34" charset="0"/>
              </a:rPr>
              <a:t>Завтра</a:t>
            </a:r>
            <a:endParaRPr lang="en-US" sz="1200" b="1" dirty="0">
              <a:solidFill>
                <a:srgbClr val="E94E14"/>
              </a:solidFill>
              <a:latin typeface="Arial" panose="020B0604020202020204" pitchFamily="34" charset="0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D4F904DF-CCD3-4431-AE5F-DE41084B7D01}"/>
              </a:ext>
            </a:extLst>
          </p:cNvPr>
          <p:cNvSpPr txBox="1"/>
          <p:nvPr/>
        </p:nvSpPr>
        <p:spPr>
          <a:xfrm>
            <a:off x="630380" y="5128951"/>
            <a:ext cx="665495" cy="214259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algn="ctr" defTabSz="342905"/>
            <a:r>
              <a:rPr lang="ru-RU" sz="675" dirty="0">
                <a:solidFill>
                  <a:srgbClr val="00B050"/>
                </a:solidFill>
                <a:latin typeface="Arial" panose="020B0604020202020204" pitchFamily="34" charset="0"/>
              </a:rPr>
              <a:t>Фотофиксация нарушений</a:t>
            </a:r>
            <a:endParaRPr lang="en-US" sz="675" dirty="0">
              <a:solidFill>
                <a:srgbClr val="00B050"/>
              </a:solidFill>
              <a:latin typeface="Arial" panose="020B0604020202020204" pitchFamily="34" charset="0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A2391576-BD73-4E82-B27D-F1C419F531AD}"/>
              </a:ext>
            </a:extLst>
          </p:cNvPr>
          <p:cNvSpPr txBox="1"/>
          <p:nvPr/>
        </p:nvSpPr>
        <p:spPr>
          <a:xfrm>
            <a:off x="1154910" y="3718964"/>
            <a:ext cx="1343139" cy="355635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algn="ctr" defTabSz="342905"/>
            <a:r>
              <a:rPr lang="ru-RU" sz="675" dirty="0">
                <a:solidFill>
                  <a:srgbClr val="00B050"/>
                </a:solidFill>
                <a:latin typeface="Arial" panose="020B0604020202020204" pitchFamily="34" charset="0"/>
              </a:rPr>
              <a:t>Применение БПЛА (</a:t>
            </a:r>
            <a:r>
              <a:rPr lang="ru-RU" sz="675" dirty="0" err="1">
                <a:solidFill>
                  <a:srgbClr val="00B050"/>
                </a:solidFill>
                <a:latin typeface="Arial" panose="020B0604020202020204" pitchFamily="34" charset="0"/>
              </a:rPr>
              <a:t>дронов</a:t>
            </a:r>
            <a:r>
              <a:rPr lang="ru-RU" sz="675" dirty="0">
                <a:solidFill>
                  <a:srgbClr val="00B050"/>
                </a:solidFill>
                <a:latin typeface="Arial" panose="020B0604020202020204" pitchFamily="34" charset="0"/>
              </a:rPr>
              <a:t>) для мониторинга безопасности дорожного движения</a:t>
            </a:r>
            <a:endParaRPr lang="en-US" sz="675" dirty="0">
              <a:solidFill>
                <a:srgbClr val="00B050"/>
              </a:solidFill>
              <a:latin typeface="Arial" panose="020B0604020202020204" pitchFamily="34" charset="0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FA5B0564-B817-45EF-9E85-C073EF621B6B}"/>
              </a:ext>
            </a:extLst>
          </p:cNvPr>
          <p:cNvSpPr txBox="1"/>
          <p:nvPr/>
        </p:nvSpPr>
        <p:spPr>
          <a:xfrm>
            <a:off x="630382" y="4605373"/>
            <a:ext cx="951758" cy="214259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algn="ctr" defTabSz="342905"/>
            <a:r>
              <a:rPr lang="ru-RU" sz="675" dirty="0">
                <a:solidFill>
                  <a:srgbClr val="00B050"/>
                </a:solidFill>
                <a:latin typeface="Arial" panose="020B0604020202020204" pitchFamily="34" charset="0"/>
              </a:rPr>
              <a:t>Видео наблюдение </a:t>
            </a:r>
            <a:endParaRPr lang="en-US" sz="675" dirty="0">
              <a:solidFill>
                <a:srgbClr val="00B050"/>
              </a:solidFill>
              <a:latin typeface="Arial" panose="020B0604020202020204" pitchFamily="34" charset="0"/>
            </a:endParaRPr>
          </a:p>
          <a:p>
            <a:pPr algn="ctr" defTabSz="342905"/>
            <a:r>
              <a:rPr lang="ru-RU" sz="675" dirty="0">
                <a:solidFill>
                  <a:srgbClr val="00B050"/>
                </a:solidFill>
                <a:latin typeface="Arial" panose="020B0604020202020204" pitchFamily="34" charset="0"/>
              </a:rPr>
              <a:t>за движением</a:t>
            </a:r>
            <a:endParaRPr lang="en-US" sz="675" dirty="0">
              <a:solidFill>
                <a:srgbClr val="00B050"/>
              </a:solidFill>
              <a:latin typeface="Arial" panose="020B0604020202020204" pitchFamily="34" charset="0"/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05CE06C0-5E3D-488A-BFCC-E7D35D52E0BC}"/>
              </a:ext>
            </a:extLst>
          </p:cNvPr>
          <p:cNvSpPr txBox="1"/>
          <p:nvPr/>
        </p:nvSpPr>
        <p:spPr>
          <a:xfrm>
            <a:off x="3209532" y="3508619"/>
            <a:ext cx="1343139" cy="214259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defPPr>
              <a:defRPr lang="en-US"/>
            </a:defPPr>
            <a:lvl1pPr algn="ctr">
              <a:defRPr sz="90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defTabSz="342905"/>
            <a:r>
              <a:rPr lang="ru-RU" sz="675" dirty="0">
                <a:solidFill>
                  <a:srgbClr val="00338D"/>
                </a:solidFill>
              </a:rPr>
              <a:t>Электрические заправки</a:t>
            </a:r>
            <a:endParaRPr lang="en-US" sz="675" dirty="0">
              <a:solidFill>
                <a:srgbClr val="00338D"/>
              </a:solidFill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FB116865-9CE9-4E2D-9446-659D3BBB9380}"/>
              </a:ext>
            </a:extLst>
          </p:cNvPr>
          <p:cNvSpPr txBox="1"/>
          <p:nvPr/>
        </p:nvSpPr>
        <p:spPr>
          <a:xfrm>
            <a:off x="4150553" y="2268103"/>
            <a:ext cx="778240" cy="214259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defPPr>
              <a:defRPr lang="en-US"/>
            </a:defPPr>
            <a:lvl1pPr algn="ctr">
              <a:defRPr sz="90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defTabSz="342905"/>
            <a:r>
              <a:rPr lang="ru-RU" sz="675" dirty="0">
                <a:solidFill>
                  <a:srgbClr val="00338D"/>
                </a:solidFill>
              </a:rPr>
              <a:t>Водородные заправки</a:t>
            </a:r>
            <a:endParaRPr lang="en-US" sz="675" dirty="0">
              <a:solidFill>
                <a:srgbClr val="00338D"/>
              </a:solidFill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33AFA2CE-5727-41E4-AA99-B10095C2CBFC}"/>
              </a:ext>
            </a:extLst>
          </p:cNvPr>
          <p:cNvSpPr txBox="1"/>
          <p:nvPr/>
        </p:nvSpPr>
        <p:spPr>
          <a:xfrm>
            <a:off x="681930" y="2918725"/>
            <a:ext cx="1343139" cy="45732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defPPr>
              <a:defRPr lang="en-US"/>
            </a:defPPr>
            <a:lvl1pPr algn="ctr">
              <a:defRPr sz="900">
                <a:solidFill>
                  <a:srgbClr val="00338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defTabSz="342905"/>
            <a:r>
              <a:rPr lang="ru-RU" sz="675" dirty="0">
                <a:solidFill>
                  <a:srgbClr val="00B050"/>
                </a:solidFill>
              </a:rPr>
              <a:t>Инфраструктуры для обеспечения движения высокоавтоматизированных транспортных средств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86E5B00F-1130-4C1C-B8DA-8AD57CB43AA4}"/>
              </a:ext>
            </a:extLst>
          </p:cNvPr>
          <p:cNvSpPr txBox="1"/>
          <p:nvPr/>
        </p:nvSpPr>
        <p:spPr>
          <a:xfrm>
            <a:off x="3445990" y="2767983"/>
            <a:ext cx="964861" cy="214259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defPPr>
              <a:defRPr lang="en-US"/>
            </a:defPPr>
            <a:lvl1pPr algn="ctr">
              <a:defRPr sz="90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defTabSz="342905"/>
            <a:r>
              <a:rPr lang="ru-RU" sz="675" dirty="0">
                <a:solidFill>
                  <a:srgbClr val="00338D"/>
                </a:solidFill>
              </a:rPr>
              <a:t>Обеспечение движения автопоездов</a:t>
            </a:r>
            <a:endParaRPr lang="en-US" sz="675" dirty="0">
              <a:solidFill>
                <a:srgbClr val="00338D"/>
              </a:solidFill>
            </a:endParaRP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89D6F792-8CA7-47DB-9D85-A48D0C569209}"/>
              </a:ext>
            </a:extLst>
          </p:cNvPr>
          <p:cNvSpPr txBox="1"/>
          <p:nvPr/>
        </p:nvSpPr>
        <p:spPr>
          <a:xfrm>
            <a:off x="1176124" y="5198569"/>
            <a:ext cx="1343139" cy="214259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defPPr>
              <a:defRPr lang="en-US"/>
            </a:defPPr>
            <a:lvl1pPr algn="ctr">
              <a:defRPr sz="900">
                <a:solidFill>
                  <a:srgbClr val="00338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defTabSz="342905"/>
            <a:r>
              <a:rPr lang="en-US" sz="675" dirty="0"/>
              <a:t>Free Flow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6A34AB19-345F-46F2-AE0B-DBA624EB4EA5}"/>
              </a:ext>
            </a:extLst>
          </p:cNvPr>
          <p:cNvSpPr txBox="1"/>
          <p:nvPr/>
        </p:nvSpPr>
        <p:spPr>
          <a:xfrm>
            <a:off x="6827621" y="4205570"/>
            <a:ext cx="1343139" cy="214259"/>
          </a:xfrm>
          <a:prstGeom prst="rect">
            <a:avLst/>
          </a:prstGeom>
          <a:noFill/>
        </p:spPr>
        <p:txBody>
          <a:bodyPr wrap="square" lIns="26999" tIns="0" rIns="26999" bIns="0" rtlCol="0" anchor="ctr">
            <a:noAutofit/>
          </a:bodyPr>
          <a:lstStyle>
            <a:defPPr>
              <a:defRPr lang="en-US"/>
            </a:defPPr>
            <a:lvl1pPr algn="ctr">
              <a:defRPr sz="1600" b="1">
                <a:solidFill>
                  <a:srgbClr val="E94E1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defTabSz="342905"/>
            <a:r>
              <a:rPr lang="ru-RU" sz="675" b="0" dirty="0"/>
              <a:t>Цифровые</a:t>
            </a:r>
            <a:r>
              <a:rPr lang="en-US" sz="675" b="0" dirty="0"/>
              <a:t> </a:t>
            </a:r>
            <a:r>
              <a:rPr lang="ru-RU" sz="675" b="0" dirty="0"/>
              <a:t>двойники дороги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D7521878-A724-4DC7-86A4-A177C42B9042}"/>
              </a:ext>
            </a:extLst>
          </p:cNvPr>
          <p:cNvSpPr txBox="1"/>
          <p:nvPr/>
        </p:nvSpPr>
        <p:spPr>
          <a:xfrm>
            <a:off x="3160278" y="5194832"/>
            <a:ext cx="1343139" cy="214259"/>
          </a:xfrm>
          <a:prstGeom prst="rect">
            <a:avLst/>
          </a:prstGeom>
          <a:noFill/>
        </p:spPr>
        <p:txBody>
          <a:bodyPr wrap="square" lIns="26999" tIns="0" rIns="26999" bIns="0" rtlCol="0" anchor="ctr">
            <a:noAutofit/>
          </a:bodyPr>
          <a:lstStyle>
            <a:defPPr>
              <a:defRPr lang="en-US"/>
            </a:defPPr>
            <a:lvl1pPr algn="ctr">
              <a:defRPr sz="1600" b="1">
                <a:solidFill>
                  <a:srgbClr val="E94E1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defTabSz="342905"/>
            <a:r>
              <a:rPr lang="en-US" sz="675" b="0" dirty="0"/>
              <a:t>BIM-</a:t>
            </a:r>
            <a:r>
              <a:rPr lang="ru-RU" sz="675" b="0" dirty="0"/>
              <a:t>Моделирование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553E599D-A6AB-4345-B485-FBBCA77695E8}"/>
              </a:ext>
            </a:extLst>
          </p:cNvPr>
          <p:cNvSpPr txBox="1"/>
          <p:nvPr/>
        </p:nvSpPr>
        <p:spPr>
          <a:xfrm>
            <a:off x="2249570" y="5896971"/>
            <a:ext cx="2464464" cy="54495"/>
          </a:xfrm>
          <a:prstGeom prst="rect">
            <a:avLst/>
          </a:prstGeom>
          <a:noFill/>
        </p:spPr>
        <p:txBody>
          <a:bodyPr wrap="square" lIns="26999" tIns="0" rIns="26999" bIns="0" rtlCol="0" anchor="ctr">
            <a:noAutofit/>
          </a:bodyPr>
          <a:lstStyle>
            <a:defPPr>
              <a:defRPr lang="en-US"/>
            </a:defPPr>
            <a:lvl1pPr algn="ctr">
              <a:defRPr sz="1600" b="1">
                <a:solidFill>
                  <a:srgbClr val="E94E1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defTabSz="342905"/>
            <a:r>
              <a:rPr lang="ru-RU" sz="675" b="0" dirty="0"/>
              <a:t>Цифровые технологии управления проектированием, строительством и эксплуатацией дорог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52ECEA20-DAEA-4113-9925-727F3201CFE0}"/>
              </a:ext>
            </a:extLst>
          </p:cNvPr>
          <p:cNvSpPr txBox="1"/>
          <p:nvPr/>
        </p:nvSpPr>
        <p:spPr>
          <a:xfrm>
            <a:off x="4896313" y="4819320"/>
            <a:ext cx="1009472" cy="379249"/>
          </a:xfrm>
          <a:prstGeom prst="rect">
            <a:avLst/>
          </a:prstGeom>
          <a:noFill/>
        </p:spPr>
        <p:txBody>
          <a:bodyPr wrap="square" lIns="26999" tIns="0" rIns="26999" bIns="0" rtlCol="0" anchor="ctr">
            <a:noAutofit/>
          </a:bodyPr>
          <a:lstStyle>
            <a:defPPr>
              <a:defRPr lang="en-US"/>
            </a:defPPr>
            <a:lvl1pPr algn="ctr">
              <a:defRPr sz="1600" b="1">
                <a:solidFill>
                  <a:srgbClr val="E94E1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defTabSz="342905"/>
            <a:r>
              <a:rPr lang="ru-RU" sz="675" b="0" dirty="0"/>
              <a:t>Применение БПЛА (</a:t>
            </a:r>
            <a:r>
              <a:rPr lang="ru-RU" sz="675" b="0" dirty="0" err="1"/>
              <a:t>дронов</a:t>
            </a:r>
            <a:r>
              <a:rPr lang="ru-RU" sz="675" b="0" dirty="0"/>
              <a:t>) для контроля за строительством объектов</a:t>
            </a:r>
          </a:p>
        </p:txBody>
      </p:sp>
      <p:grpSp>
        <p:nvGrpSpPr>
          <p:cNvPr id="35" name="Graphic 34">
            <a:extLst>
              <a:ext uri="{FF2B5EF4-FFF2-40B4-BE49-F238E27FC236}">
                <a16:creationId xmlns:a16="http://schemas.microsoft.com/office/drawing/2014/main" id="{5EE57FAD-20BE-4AED-8E32-F2D4037F2583}"/>
              </a:ext>
            </a:extLst>
          </p:cNvPr>
          <p:cNvGrpSpPr/>
          <p:nvPr/>
        </p:nvGrpSpPr>
        <p:grpSpPr>
          <a:xfrm>
            <a:off x="5259373" y="4450578"/>
            <a:ext cx="283044" cy="283177"/>
            <a:chOff x="4282633" y="1341435"/>
            <a:chExt cx="4875822" cy="4878110"/>
          </a:xfrm>
          <a:solidFill>
            <a:srgbClr val="E94E14"/>
          </a:solidFill>
        </p:grpSpPr>
        <p:sp>
          <p:nvSpPr>
            <p:cNvPr id="36" name="Freeform: Shape 35">
              <a:extLst>
                <a:ext uri="{FF2B5EF4-FFF2-40B4-BE49-F238E27FC236}">
                  <a16:creationId xmlns:a16="http://schemas.microsoft.com/office/drawing/2014/main" id="{DAAE3B7D-1647-4D94-A50D-EF49EDC7B627}"/>
                </a:ext>
              </a:extLst>
            </p:cNvPr>
            <p:cNvSpPr/>
            <p:nvPr/>
          </p:nvSpPr>
          <p:spPr>
            <a:xfrm>
              <a:off x="6363194" y="3424992"/>
              <a:ext cx="714375" cy="714375"/>
            </a:xfrm>
            <a:custGeom>
              <a:avLst/>
              <a:gdLst>
                <a:gd name="connsiteX0" fmla="*/ 357188 w 714375"/>
                <a:gd name="connsiteY0" fmla="*/ 714375 h 714375"/>
                <a:gd name="connsiteX1" fmla="*/ 0 w 714375"/>
                <a:gd name="connsiteY1" fmla="*/ 357188 h 714375"/>
                <a:gd name="connsiteX2" fmla="*/ 357188 w 714375"/>
                <a:gd name="connsiteY2" fmla="*/ 0 h 714375"/>
                <a:gd name="connsiteX3" fmla="*/ 714375 w 714375"/>
                <a:gd name="connsiteY3" fmla="*/ 357188 h 714375"/>
                <a:gd name="connsiteX4" fmla="*/ 357188 w 714375"/>
                <a:gd name="connsiteY4" fmla="*/ 714375 h 714375"/>
                <a:gd name="connsiteX5" fmla="*/ 357188 w 714375"/>
                <a:gd name="connsiteY5" fmla="*/ 142875 h 714375"/>
                <a:gd name="connsiteX6" fmla="*/ 142875 w 714375"/>
                <a:gd name="connsiteY6" fmla="*/ 357188 h 714375"/>
                <a:gd name="connsiteX7" fmla="*/ 357188 w 714375"/>
                <a:gd name="connsiteY7" fmla="*/ 571500 h 714375"/>
                <a:gd name="connsiteX8" fmla="*/ 571500 w 714375"/>
                <a:gd name="connsiteY8" fmla="*/ 357188 h 714375"/>
                <a:gd name="connsiteX9" fmla="*/ 357188 w 714375"/>
                <a:gd name="connsiteY9" fmla="*/ 142875 h 7143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714375" h="714375">
                  <a:moveTo>
                    <a:pt x="357188" y="714375"/>
                  </a:moveTo>
                  <a:cubicBezTo>
                    <a:pt x="160229" y="714375"/>
                    <a:pt x="0" y="554146"/>
                    <a:pt x="0" y="357188"/>
                  </a:cubicBezTo>
                  <a:cubicBezTo>
                    <a:pt x="0" y="160229"/>
                    <a:pt x="160229" y="0"/>
                    <a:pt x="357188" y="0"/>
                  </a:cubicBezTo>
                  <a:cubicBezTo>
                    <a:pt x="554146" y="0"/>
                    <a:pt x="714375" y="160229"/>
                    <a:pt x="714375" y="357188"/>
                  </a:cubicBezTo>
                  <a:cubicBezTo>
                    <a:pt x="714375" y="554146"/>
                    <a:pt x="554146" y="714375"/>
                    <a:pt x="357188" y="714375"/>
                  </a:cubicBezTo>
                  <a:close/>
                  <a:moveTo>
                    <a:pt x="357188" y="142875"/>
                  </a:moveTo>
                  <a:cubicBezTo>
                    <a:pt x="239020" y="142875"/>
                    <a:pt x="142875" y="239011"/>
                    <a:pt x="142875" y="357188"/>
                  </a:cubicBezTo>
                  <a:cubicBezTo>
                    <a:pt x="142875" y="475364"/>
                    <a:pt x="239020" y="571500"/>
                    <a:pt x="357188" y="571500"/>
                  </a:cubicBezTo>
                  <a:cubicBezTo>
                    <a:pt x="475355" y="571500"/>
                    <a:pt x="571500" y="475364"/>
                    <a:pt x="571500" y="357188"/>
                  </a:cubicBezTo>
                  <a:cubicBezTo>
                    <a:pt x="571500" y="239011"/>
                    <a:pt x="475364" y="142875"/>
                    <a:pt x="357188" y="142875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342905"/>
              <a:endParaRPr lang="ru-RU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37" name="Freeform: Shape 36">
              <a:extLst>
                <a:ext uri="{FF2B5EF4-FFF2-40B4-BE49-F238E27FC236}">
                  <a16:creationId xmlns:a16="http://schemas.microsoft.com/office/drawing/2014/main" id="{821A3E25-8B1E-48DB-9CEE-F317C550E506}"/>
                </a:ext>
              </a:extLst>
            </p:cNvPr>
            <p:cNvSpPr/>
            <p:nvPr/>
          </p:nvSpPr>
          <p:spPr>
            <a:xfrm>
              <a:off x="4282633" y="1341435"/>
              <a:ext cx="4875822" cy="4878110"/>
            </a:xfrm>
            <a:custGeom>
              <a:avLst/>
              <a:gdLst>
                <a:gd name="connsiteX0" fmla="*/ 4720139 w 4875822"/>
                <a:gd name="connsiteY0" fmla="*/ 3662964 h 4878110"/>
                <a:gd name="connsiteX1" fmla="*/ 4801731 w 4875822"/>
                <a:gd name="connsiteY1" fmla="*/ 3722524 h 4878110"/>
                <a:gd name="connsiteX2" fmla="*/ 4861300 w 4875822"/>
                <a:gd name="connsiteY2" fmla="*/ 3640923 h 4878110"/>
                <a:gd name="connsiteX3" fmla="*/ 3369875 w 4875822"/>
                <a:gd name="connsiteY3" fmla="*/ 2827183 h 4878110"/>
                <a:gd name="connsiteX4" fmla="*/ 3368313 w 4875822"/>
                <a:gd name="connsiteY4" fmla="*/ 2057049 h 4878110"/>
                <a:gd name="connsiteX5" fmla="*/ 4571349 w 4875822"/>
                <a:gd name="connsiteY5" fmla="*/ 1834317 h 4878110"/>
                <a:gd name="connsiteX6" fmla="*/ 4574521 w 4875822"/>
                <a:gd name="connsiteY6" fmla="*/ 310317 h 4878110"/>
                <a:gd name="connsiteX7" fmla="*/ 3030680 w 4875822"/>
                <a:gd name="connsiteY7" fmla="*/ 311907 h 4878110"/>
                <a:gd name="connsiteX8" fmla="*/ 2822083 w 4875822"/>
                <a:gd name="connsiteY8" fmla="*/ 1509733 h 4878110"/>
                <a:gd name="connsiteX9" fmla="*/ 2580491 w 4875822"/>
                <a:gd name="connsiteY9" fmla="*/ 1597049 h 4878110"/>
                <a:gd name="connsiteX10" fmla="*/ 2523122 w 4875822"/>
                <a:gd name="connsiteY10" fmla="*/ 1680202 h 4878110"/>
                <a:gd name="connsiteX11" fmla="*/ 2606275 w 4875822"/>
                <a:gd name="connsiteY11" fmla="*/ 1737581 h 4878110"/>
                <a:gd name="connsiteX12" fmla="*/ 3069209 w 4875822"/>
                <a:gd name="connsiteY12" fmla="*/ 1505133 h 4878110"/>
                <a:gd name="connsiteX13" fmla="*/ 3372818 w 4875822"/>
                <a:gd name="connsiteY13" fmla="*/ 1202409 h 4878110"/>
                <a:gd name="connsiteX14" fmla="*/ 3676351 w 4875822"/>
                <a:gd name="connsiteY14" fmla="*/ 1505266 h 4878110"/>
                <a:gd name="connsiteX15" fmla="*/ 3397555 w 4875822"/>
                <a:gd name="connsiteY15" fmla="*/ 1784063 h 4878110"/>
                <a:gd name="connsiteX16" fmla="*/ 3125530 w 4875822"/>
                <a:gd name="connsiteY16" fmla="*/ 2440745 h 4878110"/>
                <a:gd name="connsiteX17" fmla="*/ 3397555 w 4875822"/>
                <a:gd name="connsiteY17" fmla="*/ 3097427 h 4878110"/>
                <a:gd name="connsiteX18" fmla="*/ 3675856 w 4875822"/>
                <a:gd name="connsiteY18" fmla="*/ 3375729 h 4878110"/>
                <a:gd name="connsiteX19" fmla="*/ 3372771 w 4875822"/>
                <a:gd name="connsiteY19" fmla="*/ 3678871 h 4878110"/>
                <a:gd name="connsiteX20" fmla="*/ 3094441 w 4875822"/>
                <a:gd name="connsiteY20" fmla="*/ 3400541 h 4878110"/>
                <a:gd name="connsiteX21" fmla="*/ 2437759 w 4875822"/>
                <a:gd name="connsiteY21" fmla="*/ 3128517 h 4878110"/>
                <a:gd name="connsiteX22" fmla="*/ 1781077 w 4875822"/>
                <a:gd name="connsiteY22" fmla="*/ 3400541 h 4878110"/>
                <a:gd name="connsiteX23" fmla="*/ 1502308 w 4875822"/>
                <a:gd name="connsiteY23" fmla="*/ 3679309 h 4878110"/>
                <a:gd name="connsiteX24" fmla="*/ 1199604 w 4875822"/>
                <a:gd name="connsiteY24" fmla="*/ 3375776 h 4878110"/>
                <a:gd name="connsiteX25" fmla="*/ 1477962 w 4875822"/>
                <a:gd name="connsiteY25" fmla="*/ 3097417 h 4878110"/>
                <a:gd name="connsiteX26" fmla="*/ 1749996 w 4875822"/>
                <a:gd name="connsiteY26" fmla="*/ 2440735 h 4878110"/>
                <a:gd name="connsiteX27" fmla="*/ 1477962 w 4875822"/>
                <a:gd name="connsiteY27" fmla="*/ 1784053 h 4878110"/>
                <a:gd name="connsiteX28" fmla="*/ 1199109 w 4875822"/>
                <a:gd name="connsiteY28" fmla="*/ 1505199 h 4878110"/>
                <a:gd name="connsiteX29" fmla="*/ 1502261 w 4875822"/>
                <a:gd name="connsiteY29" fmla="*/ 1201961 h 4878110"/>
                <a:gd name="connsiteX30" fmla="*/ 1805870 w 4875822"/>
                <a:gd name="connsiteY30" fmla="*/ 1504723 h 4878110"/>
                <a:gd name="connsiteX31" fmla="*/ 2269223 w 4875822"/>
                <a:gd name="connsiteY31" fmla="*/ 1737571 h 4878110"/>
                <a:gd name="connsiteX32" fmla="*/ 2352377 w 4875822"/>
                <a:gd name="connsiteY32" fmla="*/ 1680193 h 4878110"/>
                <a:gd name="connsiteX33" fmla="*/ 2295007 w 4875822"/>
                <a:gd name="connsiteY33" fmla="*/ 1597039 h 4878110"/>
                <a:gd name="connsiteX34" fmla="*/ 2057673 w 4875822"/>
                <a:gd name="connsiteY34" fmla="*/ 1512124 h 4878110"/>
                <a:gd name="connsiteX35" fmla="*/ 1834502 w 4875822"/>
                <a:gd name="connsiteY35" fmla="*/ 300792 h 4878110"/>
                <a:gd name="connsiteX36" fmla="*/ 300977 w 4875822"/>
                <a:gd name="connsiteY36" fmla="*/ 319842 h 4878110"/>
                <a:gd name="connsiteX37" fmla="*/ 327400 w 4875822"/>
                <a:gd name="connsiteY37" fmla="*/ 1841137 h 4878110"/>
                <a:gd name="connsiteX38" fmla="*/ 1508242 w 4875822"/>
                <a:gd name="connsiteY38" fmla="*/ 2058916 h 4878110"/>
                <a:gd name="connsiteX39" fmla="*/ 1506757 w 4875822"/>
                <a:gd name="connsiteY39" fmla="*/ 2825183 h 4878110"/>
                <a:gd name="connsiteX40" fmla="*/ 325580 w 4875822"/>
                <a:gd name="connsiteY40" fmla="*/ 3028904 h 4878110"/>
                <a:gd name="connsiteX41" fmla="*/ 6588 w 4875822"/>
                <a:gd name="connsiteY41" fmla="*/ 3807573 h 4878110"/>
                <a:gd name="connsiteX42" fmla="*/ 266782 w 4875822"/>
                <a:gd name="connsiteY42" fmla="*/ 4507546 h 4878110"/>
                <a:gd name="connsiteX43" fmla="*/ 922598 w 4875822"/>
                <a:gd name="connsiteY43" fmla="*/ 4867048 h 4878110"/>
                <a:gd name="connsiteX44" fmla="*/ 993092 w 4875822"/>
                <a:gd name="connsiteY44" fmla="*/ 4806622 h 4878110"/>
                <a:gd name="connsiteX45" fmla="*/ 933523 w 4875822"/>
                <a:gd name="connsiteY45" fmla="*/ 4725021 h 4878110"/>
                <a:gd name="connsiteX46" fmla="*/ 472846 w 4875822"/>
                <a:gd name="connsiteY46" fmla="*/ 4513909 h 4878110"/>
                <a:gd name="connsiteX47" fmla="*/ 956545 w 4875822"/>
                <a:gd name="connsiteY47" fmla="*/ 4030210 h 4878110"/>
                <a:gd name="connsiteX48" fmla="*/ 1243371 w 4875822"/>
                <a:gd name="connsiteY48" fmla="*/ 4073835 h 4878110"/>
                <a:gd name="connsiteX49" fmla="*/ 1683445 w 4875822"/>
                <a:gd name="connsiteY49" fmla="*/ 4513909 h 4878110"/>
                <a:gd name="connsiteX50" fmla="*/ 1222769 w 4875822"/>
                <a:gd name="connsiteY50" fmla="*/ 4725021 h 4878110"/>
                <a:gd name="connsiteX51" fmla="*/ 1163199 w 4875822"/>
                <a:gd name="connsiteY51" fmla="*/ 4806622 h 4878110"/>
                <a:gd name="connsiteX52" fmla="*/ 1233694 w 4875822"/>
                <a:gd name="connsiteY52" fmla="*/ 4867048 h 4878110"/>
                <a:gd name="connsiteX53" fmla="*/ 1840494 w 4875822"/>
                <a:gd name="connsiteY53" fmla="*/ 4560219 h 4878110"/>
                <a:gd name="connsiteX54" fmla="*/ 2056425 w 4875822"/>
                <a:gd name="connsiteY54" fmla="*/ 3369947 h 4878110"/>
                <a:gd name="connsiteX55" fmla="*/ 2823340 w 4875822"/>
                <a:gd name="connsiteY55" fmla="*/ 3372376 h 4878110"/>
                <a:gd name="connsiteX56" fmla="*/ 3046159 w 4875822"/>
                <a:gd name="connsiteY56" fmla="*/ 4575526 h 4878110"/>
                <a:gd name="connsiteX57" fmla="*/ 4502655 w 4875822"/>
                <a:gd name="connsiteY57" fmla="*/ 4618941 h 4878110"/>
                <a:gd name="connsiteX58" fmla="*/ 4861290 w 4875822"/>
                <a:gd name="connsiteY58" fmla="*/ 3974222 h 4878110"/>
                <a:gd name="connsiteX59" fmla="*/ 4801721 w 4875822"/>
                <a:gd name="connsiteY59" fmla="*/ 3892622 h 4878110"/>
                <a:gd name="connsiteX60" fmla="*/ 4720130 w 4875822"/>
                <a:gd name="connsiteY60" fmla="*/ 3952181 h 4878110"/>
                <a:gd name="connsiteX61" fmla="*/ 4508970 w 4875822"/>
                <a:gd name="connsiteY61" fmla="*/ 4412915 h 4878110"/>
                <a:gd name="connsiteX62" fmla="*/ 4023604 w 4875822"/>
                <a:gd name="connsiteY62" fmla="*/ 3927550 h 4878110"/>
                <a:gd name="connsiteX63" fmla="*/ 4071944 w 4875822"/>
                <a:gd name="connsiteY63" fmla="*/ 3639228 h 4878110"/>
                <a:gd name="connsiteX64" fmla="*/ 4508970 w 4875822"/>
                <a:gd name="connsiteY64" fmla="*/ 3202202 h 4878110"/>
                <a:gd name="connsiteX65" fmla="*/ 4720139 w 4875822"/>
                <a:gd name="connsiteY65" fmla="*/ 3662964 h 4878110"/>
                <a:gd name="connsiteX66" fmla="*/ 4507570 w 4875822"/>
                <a:gd name="connsiteY66" fmla="*/ 1681288 h 4878110"/>
                <a:gd name="connsiteX67" fmla="*/ 4071087 w 4875822"/>
                <a:gd name="connsiteY67" fmla="*/ 1244805 h 4878110"/>
                <a:gd name="connsiteX68" fmla="*/ 4024948 w 4875822"/>
                <a:gd name="connsiteY68" fmla="*/ 956112 h 4878110"/>
                <a:gd name="connsiteX69" fmla="*/ 4507617 w 4875822"/>
                <a:gd name="connsiteY69" fmla="*/ 473442 h 4878110"/>
                <a:gd name="connsiteX70" fmla="*/ 4731369 w 4875822"/>
                <a:gd name="connsiteY70" fmla="*/ 1077336 h 4878110"/>
                <a:gd name="connsiteX71" fmla="*/ 4507570 w 4875822"/>
                <a:gd name="connsiteY71" fmla="*/ 1681288 h 4878110"/>
                <a:gd name="connsiteX72" fmla="*/ 4406586 w 4875822"/>
                <a:gd name="connsiteY72" fmla="*/ 372410 h 4878110"/>
                <a:gd name="connsiteX73" fmla="*/ 3924297 w 4875822"/>
                <a:gd name="connsiteY73" fmla="*/ 854699 h 4878110"/>
                <a:gd name="connsiteX74" fmla="*/ 3633499 w 4875822"/>
                <a:gd name="connsiteY74" fmla="*/ 807207 h 4878110"/>
                <a:gd name="connsiteX75" fmla="*/ 3198730 w 4875822"/>
                <a:gd name="connsiteY75" fmla="*/ 372448 h 4878110"/>
                <a:gd name="connsiteX76" fmla="*/ 4406586 w 4875822"/>
                <a:gd name="connsiteY76" fmla="*/ 372410 h 4878110"/>
                <a:gd name="connsiteX77" fmla="*/ 2941955 w 4875822"/>
                <a:gd name="connsiteY77" fmla="*/ 1426799 h 4878110"/>
                <a:gd name="connsiteX78" fmla="*/ 3097717 w 4875822"/>
                <a:gd name="connsiteY78" fmla="*/ 473489 h 4878110"/>
                <a:gd name="connsiteX79" fmla="*/ 3500006 w 4875822"/>
                <a:gd name="connsiteY79" fmla="*/ 875768 h 4878110"/>
                <a:gd name="connsiteX80" fmla="*/ 2941955 w 4875822"/>
                <a:gd name="connsiteY80" fmla="*/ 1426799 h 4878110"/>
                <a:gd name="connsiteX81" fmla="*/ 3512026 w 4875822"/>
                <a:gd name="connsiteY81" fmla="*/ 1151650 h 4878110"/>
                <a:gd name="connsiteX82" fmla="*/ 3569938 w 4875822"/>
                <a:gd name="connsiteY82" fmla="*/ 1005451 h 4878110"/>
                <a:gd name="connsiteX83" fmla="*/ 3877882 w 4875822"/>
                <a:gd name="connsiteY83" fmla="*/ 1000574 h 4878110"/>
                <a:gd name="connsiteX84" fmla="*/ 3880596 w 4875822"/>
                <a:gd name="connsiteY84" fmla="*/ 1300726 h 4878110"/>
                <a:gd name="connsiteX85" fmla="*/ 3877872 w 4875822"/>
                <a:gd name="connsiteY85" fmla="*/ 1303193 h 4878110"/>
                <a:gd name="connsiteX86" fmla="*/ 3726339 w 4875822"/>
                <a:gd name="connsiteY86" fmla="*/ 1365963 h 4878110"/>
                <a:gd name="connsiteX87" fmla="*/ 3512026 w 4875822"/>
                <a:gd name="connsiteY87" fmla="*/ 1151650 h 4878110"/>
                <a:gd name="connsiteX88" fmla="*/ 4002688 w 4875822"/>
                <a:gd name="connsiteY88" fmla="*/ 1378469 h 4878110"/>
                <a:gd name="connsiteX89" fmla="*/ 4406529 w 4875822"/>
                <a:gd name="connsiteY89" fmla="*/ 1782310 h 4878110"/>
                <a:gd name="connsiteX90" fmla="*/ 3451057 w 4875822"/>
                <a:gd name="connsiteY90" fmla="*/ 1937206 h 4878110"/>
                <a:gd name="connsiteX91" fmla="*/ 4002688 w 4875822"/>
                <a:gd name="connsiteY91" fmla="*/ 1378469 h 4878110"/>
                <a:gd name="connsiteX92" fmla="*/ 1326439 w 4875822"/>
                <a:gd name="connsiteY92" fmla="*/ 1031883 h 4878110"/>
                <a:gd name="connsiteX93" fmla="*/ 1362996 w 4875822"/>
                <a:gd name="connsiteY93" fmla="*/ 1151650 h 4878110"/>
                <a:gd name="connsiteX94" fmla="*/ 1148683 w 4875822"/>
                <a:gd name="connsiteY94" fmla="*/ 1365963 h 4878110"/>
                <a:gd name="connsiteX95" fmla="*/ 997521 w 4875822"/>
                <a:gd name="connsiteY95" fmla="*/ 1303574 h 4878110"/>
                <a:gd name="connsiteX96" fmla="*/ 997588 w 4875822"/>
                <a:gd name="connsiteY96" fmla="*/ 1000622 h 4878110"/>
                <a:gd name="connsiteX97" fmla="*/ 1326439 w 4875822"/>
                <a:gd name="connsiteY97" fmla="*/ 1031883 h 4878110"/>
                <a:gd name="connsiteX98" fmla="*/ 1937429 w 4875822"/>
                <a:gd name="connsiteY98" fmla="*/ 1430009 h 4878110"/>
                <a:gd name="connsiteX99" fmla="*/ 1378341 w 4875822"/>
                <a:gd name="connsiteY99" fmla="*/ 878273 h 4878110"/>
                <a:gd name="connsiteX100" fmla="*/ 1783124 w 4875822"/>
                <a:gd name="connsiteY100" fmla="*/ 473489 h 4878110"/>
                <a:gd name="connsiteX101" fmla="*/ 1937429 w 4875822"/>
                <a:gd name="connsiteY101" fmla="*/ 1430009 h 4878110"/>
                <a:gd name="connsiteX102" fmla="*/ 1682102 w 4875822"/>
                <a:gd name="connsiteY102" fmla="*/ 372448 h 4878110"/>
                <a:gd name="connsiteX103" fmla="*/ 1246000 w 4875822"/>
                <a:gd name="connsiteY103" fmla="*/ 808541 h 4878110"/>
                <a:gd name="connsiteX104" fmla="*/ 954468 w 4875822"/>
                <a:gd name="connsiteY104" fmla="*/ 852708 h 4878110"/>
                <a:gd name="connsiteX105" fmla="*/ 474199 w 4875822"/>
                <a:gd name="connsiteY105" fmla="*/ 372448 h 4878110"/>
                <a:gd name="connsiteX106" fmla="*/ 1682102 w 4875822"/>
                <a:gd name="connsiteY106" fmla="*/ 372448 h 4878110"/>
                <a:gd name="connsiteX107" fmla="*/ 373177 w 4875822"/>
                <a:gd name="connsiteY107" fmla="*/ 473489 h 4878110"/>
                <a:gd name="connsiteX108" fmla="*/ 852599 w 4875822"/>
                <a:gd name="connsiteY108" fmla="*/ 952911 h 4878110"/>
                <a:gd name="connsiteX109" fmla="*/ 805345 w 4875822"/>
                <a:gd name="connsiteY109" fmla="*/ 1249110 h 4878110"/>
                <a:gd name="connsiteX110" fmla="*/ 373215 w 4875822"/>
                <a:gd name="connsiteY110" fmla="*/ 1681231 h 4878110"/>
                <a:gd name="connsiteX111" fmla="*/ 373177 w 4875822"/>
                <a:gd name="connsiteY111" fmla="*/ 473489 h 4878110"/>
                <a:gd name="connsiteX112" fmla="*/ 1078151 w 4875822"/>
                <a:gd name="connsiteY112" fmla="*/ 2006024 h 4878110"/>
                <a:gd name="connsiteX113" fmla="*/ 474256 w 4875822"/>
                <a:gd name="connsiteY113" fmla="*/ 1782262 h 4878110"/>
                <a:gd name="connsiteX114" fmla="*/ 875201 w 4875822"/>
                <a:gd name="connsiteY114" fmla="*/ 1381317 h 4878110"/>
                <a:gd name="connsiteX115" fmla="*/ 1425813 w 4875822"/>
                <a:gd name="connsiteY115" fmla="*/ 1938787 h 4878110"/>
                <a:gd name="connsiteX116" fmla="*/ 1078151 w 4875822"/>
                <a:gd name="connsiteY116" fmla="*/ 2006024 h 4878110"/>
                <a:gd name="connsiteX117" fmla="*/ 1423641 w 4875822"/>
                <a:gd name="connsiteY117" fmla="*/ 2945227 h 4878110"/>
                <a:gd name="connsiteX118" fmla="*/ 873601 w 4875822"/>
                <a:gd name="connsiteY118" fmla="*/ 3502011 h 4878110"/>
                <a:gd name="connsiteX119" fmla="*/ 474256 w 4875822"/>
                <a:gd name="connsiteY119" fmla="*/ 3102666 h 4878110"/>
                <a:gd name="connsiteX120" fmla="*/ 1423641 w 4875822"/>
                <a:gd name="connsiteY120" fmla="*/ 2945227 h 4878110"/>
                <a:gd name="connsiteX121" fmla="*/ 149463 w 4875822"/>
                <a:gd name="connsiteY121" fmla="*/ 3807582 h 4878110"/>
                <a:gd name="connsiteX122" fmla="*/ 373224 w 4875822"/>
                <a:gd name="connsiteY122" fmla="*/ 3203688 h 4878110"/>
                <a:gd name="connsiteX123" fmla="*/ 804707 w 4875822"/>
                <a:gd name="connsiteY123" fmla="*/ 3635170 h 4878110"/>
                <a:gd name="connsiteX124" fmla="*/ 854189 w 4875822"/>
                <a:gd name="connsiteY124" fmla="*/ 3930531 h 4878110"/>
                <a:gd name="connsiteX125" fmla="*/ 371653 w 4875822"/>
                <a:gd name="connsiteY125" fmla="*/ 4413068 h 4878110"/>
                <a:gd name="connsiteX126" fmla="*/ 149463 w 4875822"/>
                <a:gd name="connsiteY126" fmla="*/ 3807582 h 4878110"/>
                <a:gd name="connsiteX127" fmla="*/ 1000512 w 4875822"/>
                <a:gd name="connsiteY127" fmla="*/ 3883630 h 4878110"/>
                <a:gd name="connsiteX128" fmla="*/ 1002465 w 4875822"/>
                <a:gd name="connsiteY128" fmla="*/ 3572924 h 4878110"/>
                <a:gd name="connsiteX129" fmla="*/ 1287853 w 4875822"/>
                <a:gd name="connsiteY129" fmla="*/ 3566438 h 4878110"/>
                <a:gd name="connsiteX130" fmla="*/ 1300397 w 4875822"/>
                <a:gd name="connsiteY130" fmla="*/ 3880668 h 4878110"/>
                <a:gd name="connsiteX131" fmla="*/ 1000512 w 4875822"/>
                <a:gd name="connsiteY131" fmla="*/ 3883630 h 4878110"/>
                <a:gd name="connsiteX132" fmla="*/ 1784658 w 4875822"/>
                <a:gd name="connsiteY132" fmla="*/ 4413058 h 4878110"/>
                <a:gd name="connsiteX133" fmla="*/ 1376502 w 4875822"/>
                <a:gd name="connsiteY133" fmla="*/ 4004902 h 4878110"/>
                <a:gd name="connsiteX134" fmla="*/ 1936344 w 4875822"/>
                <a:gd name="connsiteY134" fmla="*/ 3452214 h 4878110"/>
                <a:gd name="connsiteX135" fmla="*/ 1784658 w 4875822"/>
                <a:gd name="connsiteY135" fmla="*/ 4413058 h 4878110"/>
                <a:gd name="connsiteX136" fmla="*/ 3453267 w 4875822"/>
                <a:gd name="connsiteY136" fmla="*/ 2946846 h 4878110"/>
                <a:gd name="connsiteX137" fmla="*/ 4408110 w 4875822"/>
                <a:gd name="connsiteY137" fmla="*/ 3101037 h 4878110"/>
                <a:gd name="connsiteX138" fmla="*/ 4004221 w 4875822"/>
                <a:gd name="connsiteY138" fmla="*/ 3504926 h 4878110"/>
                <a:gd name="connsiteX139" fmla="*/ 3453267 w 4875822"/>
                <a:gd name="connsiteY139" fmla="*/ 2946846 h 4878110"/>
                <a:gd name="connsiteX140" fmla="*/ 3726339 w 4875822"/>
                <a:gd name="connsiteY140" fmla="*/ 3514974 h 4878110"/>
                <a:gd name="connsiteX141" fmla="*/ 3877872 w 4875822"/>
                <a:gd name="connsiteY141" fmla="*/ 3577744 h 4878110"/>
                <a:gd name="connsiteX142" fmla="*/ 3877110 w 4875822"/>
                <a:gd name="connsiteY142" fmla="*/ 3881592 h 4878110"/>
                <a:gd name="connsiteX143" fmla="*/ 3644186 w 4875822"/>
                <a:gd name="connsiteY143" fmla="*/ 3927274 h 4878110"/>
                <a:gd name="connsiteX144" fmla="*/ 3512026 w 4875822"/>
                <a:gd name="connsiteY144" fmla="*/ 3729277 h 4878110"/>
                <a:gd name="connsiteX145" fmla="*/ 3726339 w 4875822"/>
                <a:gd name="connsiteY145" fmla="*/ 3514974 h 4878110"/>
                <a:gd name="connsiteX146" fmla="*/ 2943003 w 4875822"/>
                <a:gd name="connsiteY146" fmla="*/ 3455529 h 4878110"/>
                <a:gd name="connsiteX147" fmla="*/ 3501978 w 4875822"/>
                <a:gd name="connsiteY147" fmla="*/ 4007255 h 4878110"/>
                <a:gd name="connsiteX148" fmla="*/ 3097755 w 4875822"/>
                <a:gd name="connsiteY148" fmla="*/ 4411477 h 4878110"/>
                <a:gd name="connsiteX149" fmla="*/ 2943003 w 4875822"/>
                <a:gd name="connsiteY149" fmla="*/ 3455529 h 4878110"/>
                <a:gd name="connsiteX150" fmla="*/ 3198787 w 4875822"/>
                <a:gd name="connsiteY150" fmla="*/ 4512518 h 4878110"/>
                <a:gd name="connsiteX151" fmla="*/ 3636337 w 4875822"/>
                <a:gd name="connsiteY151" fmla="*/ 4074968 h 4878110"/>
                <a:gd name="connsiteX152" fmla="*/ 3922087 w 4875822"/>
                <a:gd name="connsiteY152" fmla="*/ 4028115 h 4878110"/>
                <a:gd name="connsiteX153" fmla="*/ 4408110 w 4875822"/>
                <a:gd name="connsiteY153" fmla="*/ 4514137 h 4878110"/>
                <a:gd name="connsiteX154" fmla="*/ 3198787 w 4875822"/>
                <a:gd name="connsiteY154" fmla="*/ 4512518 h 48781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</a:cxnLst>
              <a:rect l="l" t="t" r="r" b="b"/>
              <a:pathLst>
                <a:path w="4875822" h="4878110">
                  <a:moveTo>
                    <a:pt x="4720139" y="3662964"/>
                  </a:moveTo>
                  <a:cubicBezTo>
                    <a:pt x="4739094" y="3708075"/>
                    <a:pt x="4766298" y="3727925"/>
                    <a:pt x="4801731" y="3722524"/>
                  </a:cubicBezTo>
                  <a:cubicBezTo>
                    <a:pt x="4840716" y="3716438"/>
                    <a:pt x="4867386" y="3679909"/>
                    <a:pt x="4861300" y="3640923"/>
                  </a:cubicBezTo>
                  <a:cubicBezTo>
                    <a:pt x="4755096" y="2960495"/>
                    <a:pt x="4007317" y="2545758"/>
                    <a:pt x="3369875" y="2827183"/>
                  </a:cubicBezTo>
                  <a:cubicBezTo>
                    <a:pt x="3236049" y="2591059"/>
                    <a:pt x="3235468" y="2293698"/>
                    <a:pt x="3368313" y="2057049"/>
                  </a:cubicBezTo>
                  <a:cubicBezTo>
                    <a:pt x="3737140" y="2220498"/>
                    <a:pt x="4215124" y="2133183"/>
                    <a:pt x="4571349" y="1834317"/>
                  </a:cubicBezTo>
                  <a:cubicBezTo>
                    <a:pt x="4945996" y="1519992"/>
                    <a:pt x="5006327" y="745295"/>
                    <a:pt x="4574521" y="310317"/>
                  </a:cubicBezTo>
                  <a:cubicBezTo>
                    <a:pt x="4191749" y="-75274"/>
                    <a:pt x="3458524" y="-131243"/>
                    <a:pt x="3030680" y="311907"/>
                  </a:cubicBezTo>
                  <a:cubicBezTo>
                    <a:pt x="2698096" y="656398"/>
                    <a:pt x="2647699" y="1113989"/>
                    <a:pt x="2822083" y="1509733"/>
                  </a:cubicBezTo>
                  <a:cubicBezTo>
                    <a:pt x="2747283" y="1551748"/>
                    <a:pt x="2665825" y="1581399"/>
                    <a:pt x="2580491" y="1597049"/>
                  </a:cubicBezTo>
                  <a:cubicBezTo>
                    <a:pt x="2541695" y="1604164"/>
                    <a:pt x="2515997" y="1641397"/>
                    <a:pt x="2523122" y="1680202"/>
                  </a:cubicBezTo>
                  <a:cubicBezTo>
                    <a:pt x="2530237" y="1719016"/>
                    <a:pt x="2567432" y="1744696"/>
                    <a:pt x="2606275" y="1737581"/>
                  </a:cubicBezTo>
                  <a:cubicBezTo>
                    <a:pt x="2778706" y="1705948"/>
                    <a:pt x="2941031" y="1624386"/>
                    <a:pt x="3069209" y="1505133"/>
                  </a:cubicBezTo>
                  <a:cubicBezTo>
                    <a:pt x="3074524" y="1500275"/>
                    <a:pt x="3221209" y="1353857"/>
                    <a:pt x="3372818" y="1202409"/>
                  </a:cubicBezTo>
                  <a:cubicBezTo>
                    <a:pt x="3395212" y="1359067"/>
                    <a:pt x="3519589" y="1483206"/>
                    <a:pt x="3676351" y="1505266"/>
                  </a:cubicBezTo>
                  <a:lnTo>
                    <a:pt x="3397555" y="1784063"/>
                  </a:lnTo>
                  <a:cubicBezTo>
                    <a:pt x="3222143" y="1959485"/>
                    <a:pt x="3125530" y="2192695"/>
                    <a:pt x="3125530" y="2440745"/>
                  </a:cubicBezTo>
                  <a:cubicBezTo>
                    <a:pt x="3125530" y="2688795"/>
                    <a:pt x="3222143" y="2922015"/>
                    <a:pt x="3397555" y="3097427"/>
                  </a:cubicBezTo>
                  <a:lnTo>
                    <a:pt x="3675856" y="3375729"/>
                  </a:lnTo>
                  <a:cubicBezTo>
                    <a:pt x="3519208" y="3397998"/>
                    <a:pt x="3395012" y="3522213"/>
                    <a:pt x="3372771" y="3678871"/>
                  </a:cubicBezTo>
                  <a:lnTo>
                    <a:pt x="3094441" y="3400541"/>
                  </a:lnTo>
                  <a:cubicBezTo>
                    <a:pt x="2919019" y="3225119"/>
                    <a:pt x="2685809" y="3128517"/>
                    <a:pt x="2437759" y="3128517"/>
                  </a:cubicBezTo>
                  <a:cubicBezTo>
                    <a:pt x="2189709" y="3128517"/>
                    <a:pt x="1956498" y="3225129"/>
                    <a:pt x="1781077" y="3400541"/>
                  </a:cubicBezTo>
                  <a:lnTo>
                    <a:pt x="1502308" y="3679309"/>
                  </a:lnTo>
                  <a:cubicBezTo>
                    <a:pt x="1480268" y="3522594"/>
                    <a:pt x="1356195" y="3398236"/>
                    <a:pt x="1199604" y="3375776"/>
                  </a:cubicBezTo>
                  <a:lnTo>
                    <a:pt x="1477962" y="3097417"/>
                  </a:lnTo>
                  <a:cubicBezTo>
                    <a:pt x="1653375" y="2921995"/>
                    <a:pt x="1749996" y="2688785"/>
                    <a:pt x="1749996" y="2440735"/>
                  </a:cubicBezTo>
                  <a:cubicBezTo>
                    <a:pt x="1749996" y="2192685"/>
                    <a:pt x="1653375" y="1959466"/>
                    <a:pt x="1477962" y="1784053"/>
                  </a:cubicBezTo>
                  <a:lnTo>
                    <a:pt x="1199109" y="1505199"/>
                  </a:lnTo>
                  <a:cubicBezTo>
                    <a:pt x="1355814" y="1482949"/>
                    <a:pt x="1480058" y="1358676"/>
                    <a:pt x="1502261" y="1201961"/>
                  </a:cubicBezTo>
                  <a:cubicBezTo>
                    <a:pt x="1653984" y="1353533"/>
                    <a:pt x="1800850" y="1500132"/>
                    <a:pt x="1805870" y="1504723"/>
                  </a:cubicBezTo>
                  <a:cubicBezTo>
                    <a:pt x="1934239" y="1624157"/>
                    <a:pt x="2096535" y="1705891"/>
                    <a:pt x="2269223" y="1737571"/>
                  </a:cubicBezTo>
                  <a:cubicBezTo>
                    <a:pt x="2308076" y="1744686"/>
                    <a:pt x="2345261" y="1718997"/>
                    <a:pt x="2352377" y="1680193"/>
                  </a:cubicBezTo>
                  <a:cubicBezTo>
                    <a:pt x="2359492" y="1641388"/>
                    <a:pt x="2333812" y="1604154"/>
                    <a:pt x="2295007" y="1597039"/>
                  </a:cubicBezTo>
                  <a:cubicBezTo>
                    <a:pt x="2211330" y="1581695"/>
                    <a:pt x="2131358" y="1552919"/>
                    <a:pt x="2057673" y="1512124"/>
                  </a:cubicBezTo>
                  <a:cubicBezTo>
                    <a:pt x="2221332" y="1143068"/>
                    <a:pt x="2169640" y="621032"/>
                    <a:pt x="1834502" y="300792"/>
                  </a:cubicBezTo>
                  <a:cubicBezTo>
                    <a:pt x="1425813" y="-89733"/>
                    <a:pt x="697151" y="-102430"/>
                    <a:pt x="300977" y="319842"/>
                  </a:cubicBezTo>
                  <a:cubicBezTo>
                    <a:pt x="-78546" y="724368"/>
                    <a:pt x="-130715" y="1487978"/>
                    <a:pt x="327400" y="1841137"/>
                  </a:cubicBezTo>
                  <a:cubicBezTo>
                    <a:pt x="634381" y="2142917"/>
                    <a:pt x="1113098" y="2231995"/>
                    <a:pt x="1508242" y="2058916"/>
                  </a:cubicBezTo>
                  <a:cubicBezTo>
                    <a:pt x="1639687" y="2294565"/>
                    <a:pt x="1639125" y="2590021"/>
                    <a:pt x="1506757" y="2825183"/>
                  </a:cubicBezTo>
                  <a:cubicBezTo>
                    <a:pt x="1112945" y="2652476"/>
                    <a:pt x="637829" y="2734201"/>
                    <a:pt x="325580" y="3028904"/>
                  </a:cubicBezTo>
                  <a:cubicBezTo>
                    <a:pt x="113649" y="3228929"/>
                    <a:pt x="6588" y="3557246"/>
                    <a:pt x="6588" y="3807573"/>
                  </a:cubicBezTo>
                  <a:cubicBezTo>
                    <a:pt x="6588" y="4064634"/>
                    <a:pt x="98990" y="4313217"/>
                    <a:pt x="266782" y="4507546"/>
                  </a:cubicBezTo>
                  <a:cubicBezTo>
                    <a:pt x="420306" y="4685359"/>
                    <a:pt x="679958" y="4867048"/>
                    <a:pt x="922598" y="4867048"/>
                  </a:cubicBezTo>
                  <a:cubicBezTo>
                    <a:pt x="957193" y="4867048"/>
                    <a:pt x="987596" y="4841864"/>
                    <a:pt x="993092" y="4806622"/>
                  </a:cubicBezTo>
                  <a:cubicBezTo>
                    <a:pt x="999179" y="4767636"/>
                    <a:pt x="972509" y="4731108"/>
                    <a:pt x="933523" y="4725021"/>
                  </a:cubicBezTo>
                  <a:cubicBezTo>
                    <a:pt x="757139" y="4697494"/>
                    <a:pt x="599672" y="4622332"/>
                    <a:pt x="472846" y="4513909"/>
                  </a:cubicBezTo>
                  <a:lnTo>
                    <a:pt x="956545" y="4030210"/>
                  </a:lnTo>
                  <a:cubicBezTo>
                    <a:pt x="1049071" y="4085493"/>
                    <a:pt x="1144683" y="4100038"/>
                    <a:pt x="1243371" y="4073835"/>
                  </a:cubicBezTo>
                  <a:lnTo>
                    <a:pt x="1683445" y="4513909"/>
                  </a:lnTo>
                  <a:cubicBezTo>
                    <a:pt x="1556620" y="4622332"/>
                    <a:pt x="1399153" y="4697494"/>
                    <a:pt x="1222769" y="4725021"/>
                  </a:cubicBezTo>
                  <a:cubicBezTo>
                    <a:pt x="1183783" y="4731108"/>
                    <a:pt x="1157113" y="4767636"/>
                    <a:pt x="1163199" y="4806622"/>
                  </a:cubicBezTo>
                  <a:cubicBezTo>
                    <a:pt x="1168695" y="4841874"/>
                    <a:pt x="1199099" y="4867048"/>
                    <a:pt x="1233694" y="4867048"/>
                  </a:cubicBezTo>
                  <a:cubicBezTo>
                    <a:pt x="1427147" y="4867048"/>
                    <a:pt x="1715992" y="4711086"/>
                    <a:pt x="1840494" y="4560219"/>
                  </a:cubicBezTo>
                  <a:cubicBezTo>
                    <a:pt x="2146665" y="4250238"/>
                    <a:pt x="2234762" y="3768987"/>
                    <a:pt x="2056425" y="3369947"/>
                  </a:cubicBezTo>
                  <a:cubicBezTo>
                    <a:pt x="2292388" y="3238559"/>
                    <a:pt x="2588168" y="3239483"/>
                    <a:pt x="2823340" y="3372376"/>
                  </a:cubicBezTo>
                  <a:cubicBezTo>
                    <a:pt x="2660148" y="3739593"/>
                    <a:pt x="2688847" y="4255515"/>
                    <a:pt x="3046159" y="4575526"/>
                  </a:cubicBezTo>
                  <a:cubicBezTo>
                    <a:pt x="3479546" y="4963670"/>
                    <a:pt x="4086050" y="4978662"/>
                    <a:pt x="4502655" y="4618941"/>
                  </a:cubicBezTo>
                  <a:cubicBezTo>
                    <a:pt x="4692383" y="4455121"/>
                    <a:pt x="4822619" y="4222006"/>
                    <a:pt x="4861290" y="3974222"/>
                  </a:cubicBezTo>
                  <a:cubicBezTo>
                    <a:pt x="4867377" y="3935237"/>
                    <a:pt x="4840707" y="3898708"/>
                    <a:pt x="4801721" y="3892622"/>
                  </a:cubicBezTo>
                  <a:cubicBezTo>
                    <a:pt x="4762668" y="3886516"/>
                    <a:pt x="4726197" y="3913215"/>
                    <a:pt x="4720130" y="3952181"/>
                  </a:cubicBezTo>
                  <a:cubicBezTo>
                    <a:pt x="4692593" y="4128594"/>
                    <a:pt x="4617422" y="4286080"/>
                    <a:pt x="4508970" y="4412915"/>
                  </a:cubicBezTo>
                  <a:lnTo>
                    <a:pt x="4023604" y="3927550"/>
                  </a:lnTo>
                  <a:cubicBezTo>
                    <a:pt x="4081040" y="3834881"/>
                    <a:pt x="4097157" y="3738764"/>
                    <a:pt x="4071944" y="3639228"/>
                  </a:cubicBezTo>
                  <a:lnTo>
                    <a:pt x="4508970" y="3202202"/>
                  </a:lnTo>
                  <a:cubicBezTo>
                    <a:pt x="4617422" y="3329065"/>
                    <a:pt x="4692603" y="3486552"/>
                    <a:pt x="4720139" y="3662964"/>
                  </a:cubicBezTo>
                  <a:close/>
                  <a:moveTo>
                    <a:pt x="4507570" y="1681288"/>
                  </a:moveTo>
                  <a:lnTo>
                    <a:pt x="4071087" y="1244805"/>
                  </a:lnTo>
                  <a:cubicBezTo>
                    <a:pt x="4096899" y="1148002"/>
                    <a:pt x="4081574" y="1042408"/>
                    <a:pt x="4024948" y="956112"/>
                  </a:cubicBezTo>
                  <a:lnTo>
                    <a:pt x="4507617" y="473442"/>
                  </a:lnTo>
                  <a:cubicBezTo>
                    <a:pt x="4647016" y="635929"/>
                    <a:pt x="4731369" y="846955"/>
                    <a:pt x="4731369" y="1077336"/>
                  </a:cubicBezTo>
                  <a:cubicBezTo>
                    <a:pt x="4731369" y="1307746"/>
                    <a:pt x="4646997" y="1518791"/>
                    <a:pt x="4507570" y="1681288"/>
                  </a:cubicBezTo>
                  <a:close/>
                  <a:moveTo>
                    <a:pt x="4406586" y="372410"/>
                  </a:moveTo>
                  <a:lnTo>
                    <a:pt x="3924297" y="854699"/>
                  </a:lnTo>
                  <a:cubicBezTo>
                    <a:pt x="3830771" y="796930"/>
                    <a:pt x="3733835" y="781099"/>
                    <a:pt x="3633499" y="807207"/>
                  </a:cubicBezTo>
                  <a:lnTo>
                    <a:pt x="3198730" y="372448"/>
                  </a:lnTo>
                  <a:cubicBezTo>
                    <a:pt x="3542106" y="77821"/>
                    <a:pt x="4063200" y="77811"/>
                    <a:pt x="4406586" y="372410"/>
                  </a:cubicBezTo>
                  <a:close/>
                  <a:moveTo>
                    <a:pt x="2941955" y="1426799"/>
                  </a:moveTo>
                  <a:cubicBezTo>
                    <a:pt x="2812768" y="1110398"/>
                    <a:pt x="2875547" y="732484"/>
                    <a:pt x="3097717" y="473489"/>
                  </a:cubicBezTo>
                  <a:lnTo>
                    <a:pt x="3500006" y="875768"/>
                  </a:lnTo>
                  <a:cubicBezTo>
                    <a:pt x="3310106" y="1031864"/>
                    <a:pt x="2952251" y="1418160"/>
                    <a:pt x="2941955" y="1426799"/>
                  </a:cubicBezTo>
                  <a:close/>
                  <a:moveTo>
                    <a:pt x="3512026" y="1151650"/>
                  </a:moveTo>
                  <a:cubicBezTo>
                    <a:pt x="3512026" y="1096843"/>
                    <a:pt x="3532667" y="1045285"/>
                    <a:pt x="3569938" y="1005451"/>
                  </a:cubicBezTo>
                  <a:cubicBezTo>
                    <a:pt x="3651396" y="924108"/>
                    <a:pt x="3787584" y="910296"/>
                    <a:pt x="3877882" y="1000574"/>
                  </a:cubicBezTo>
                  <a:cubicBezTo>
                    <a:pt x="3960435" y="1083204"/>
                    <a:pt x="3961235" y="1216954"/>
                    <a:pt x="3880596" y="1300726"/>
                  </a:cubicBezTo>
                  <a:cubicBezTo>
                    <a:pt x="3879691" y="1301545"/>
                    <a:pt x="3878748" y="1302317"/>
                    <a:pt x="3877872" y="1303193"/>
                  </a:cubicBezTo>
                  <a:cubicBezTo>
                    <a:pt x="3837400" y="1343674"/>
                    <a:pt x="3783584" y="1365963"/>
                    <a:pt x="3726339" y="1365963"/>
                  </a:cubicBezTo>
                  <a:cubicBezTo>
                    <a:pt x="3608162" y="1365963"/>
                    <a:pt x="3512026" y="1269827"/>
                    <a:pt x="3512026" y="1151650"/>
                  </a:cubicBezTo>
                  <a:close/>
                  <a:moveTo>
                    <a:pt x="4002688" y="1378469"/>
                  </a:moveTo>
                  <a:lnTo>
                    <a:pt x="4406529" y="1782310"/>
                  </a:lnTo>
                  <a:cubicBezTo>
                    <a:pt x="4146915" y="2004995"/>
                    <a:pt x="3768220" y="2067670"/>
                    <a:pt x="3451057" y="1937206"/>
                  </a:cubicBezTo>
                  <a:cubicBezTo>
                    <a:pt x="3610439" y="1746963"/>
                    <a:pt x="3995277" y="1387508"/>
                    <a:pt x="4002688" y="1378469"/>
                  </a:cubicBezTo>
                  <a:close/>
                  <a:moveTo>
                    <a:pt x="1326439" y="1031883"/>
                  </a:moveTo>
                  <a:cubicBezTo>
                    <a:pt x="1350356" y="1067278"/>
                    <a:pt x="1362996" y="1108693"/>
                    <a:pt x="1362996" y="1151650"/>
                  </a:cubicBezTo>
                  <a:cubicBezTo>
                    <a:pt x="1362996" y="1269827"/>
                    <a:pt x="1266850" y="1365963"/>
                    <a:pt x="1148683" y="1365963"/>
                  </a:cubicBezTo>
                  <a:cubicBezTo>
                    <a:pt x="1091638" y="1365963"/>
                    <a:pt x="1037955" y="1343808"/>
                    <a:pt x="997521" y="1303574"/>
                  </a:cubicBezTo>
                  <a:cubicBezTo>
                    <a:pt x="920550" y="1227831"/>
                    <a:pt x="923788" y="1074422"/>
                    <a:pt x="997588" y="1000622"/>
                  </a:cubicBezTo>
                  <a:cubicBezTo>
                    <a:pt x="1065863" y="932404"/>
                    <a:pt x="1234027" y="913173"/>
                    <a:pt x="1326439" y="1031883"/>
                  </a:cubicBezTo>
                  <a:close/>
                  <a:moveTo>
                    <a:pt x="1937429" y="1430009"/>
                  </a:moveTo>
                  <a:cubicBezTo>
                    <a:pt x="1736080" y="1263369"/>
                    <a:pt x="1578623" y="1045961"/>
                    <a:pt x="1378341" y="878273"/>
                  </a:cubicBezTo>
                  <a:lnTo>
                    <a:pt x="1783124" y="473489"/>
                  </a:lnTo>
                  <a:cubicBezTo>
                    <a:pt x="2006581" y="733989"/>
                    <a:pt x="2067722" y="1111931"/>
                    <a:pt x="1937429" y="1430009"/>
                  </a:cubicBezTo>
                  <a:close/>
                  <a:moveTo>
                    <a:pt x="1682102" y="372448"/>
                  </a:moveTo>
                  <a:lnTo>
                    <a:pt x="1246000" y="808541"/>
                  </a:lnTo>
                  <a:cubicBezTo>
                    <a:pt x="1148559" y="781280"/>
                    <a:pt x="1041755" y="795977"/>
                    <a:pt x="954468" y="852708"/>
                  </a:cubicBezTo>
                  <a:lnTo>
                    <a:pt x="474199" y="372448"/>
                  </a:lnTo>
                  <a:cubicBezTo>
                    <a:pt x="817585" y="77811"/>
                    <a:pt x="1338716" y="77811"/>
                    <a:pt x="1682102" y="372448"/>
                  </a:cubicBezTo>
                  <a:close/>
                  <a:moveTo>
                    <a:pt x="373177" y="473489"/>
                  </a:moveTo>
                  <a:lnTo>
                    <a:pt x="852599" y="952911"/>
                  </a:lnTo>
                  <a:cubicBezTo>
                    <a:pt x="793267" y="1048180"/>
                    <a:pt x="777513" y="1146916"/>
                    <a:pt x="805345" y="1249110"/>
                  </a:cubicBezTo>
                  <a:lnTo>
                    <a:pt x="373215" y="1681231"/>
                  </a:lnTo>
                  <a:cubicBezTo>
                    <a:pt x="78654" y="1337883"/>
                    <a:pt x="78635" y="816866"/>
                    <a:pt x="373177" y="473489"/>
                  </a:cubicBezTo>
                  <a:close/>
                  <a:moveTo>
                    <a:pt x="1078151" y="2006024"/>
                  </a:moveTo>
                  <a:cubicBezTo>
                    <a:pt x="847769" y="2006024"/>
                    <a:pt x="636743" y="1921670"/>
                    <a:pt x="474256" y="1782262"/>
                  </a:cubicBezTo>
                  <a:lnTo>
                    <a:pt x="875201" y="1381317"/>
                  </a:lnTo>
                  <a:cubicBezTo>
                    <a:pt x="1042708" y="1580942"/>
                    <a:pt x="1258868" y="1738419"/>
                    <a:pt x="1425813" y="1938787"/>
                  </a:cubicBezTo>
                  <a:cubicBezTo>
                    <a:pt x="1315857" y="1983430"/>
                    <a:pt x="1199280" y="2006024"/>
                    <a:pt x="1078151" y="2006024"/>
                  </a:cubicBezTo>
                  <a:close/>
                  <a:moveTo>
                    <a:pt x="1423641" y="2945227"/>
                  </a:moveTo>
                  <a:cubicBezTo>
                    <a:pt x="1256078" y="3144623"/>
                    <a:pt x="1039403" y="3301462"/>
                    <a:pt x="873601" y="3502011"/>
                  </a:cubicBezTo>
                  <a:lnTo>
                    <a:pt x="474256" y="3102666"/>
                  </a:lnTo>
                  <a:cubicBezTo>
                    <a:pt x="732136" y="2881410"/>
                    <a:pt x="1107697" y="2817992"/>
                    <a:pt x="1423641" y="2945227"/>
                  </a:cubicBezTo>
                  <a:close/>
                  <a:moveTo>
                    <a:pt x="149463" y="3807582"/>
                  </a:moveTo>
                  <a:cubicBezTo>
                    <a:pt x="149463" y="3577201"/>
                    <a:pt x="233816" y="3366175"/>
                    <a:pt x="373224" y="3203688"/>
                  </a:cubicBezTo>
                  <a:lnTo>
                    <a:pt x="804707" y="3635170"/>
                  </a:lnTo>
                  <a:cubicBezTo>
                    <a:pt x="776665" y="3736640"/>
                    <a:pt x="794953" y="3844130"/>
                    <a:pt x="854189" y="3930531"/>
                  </a:cubicBezTo>
                  <a:lnTo>
                    <a:pt x="371653" y="4413068"/>
                  </a:lnTo>
                  <a:cubicBezTo>
                    <a:pt x="232111" y="4250066"/>
                    <a:pt x="149463" y="4038211"/>
                    <a:pt x="149463" y="3807582"/>
                  </a:cubicBezTo>
                  <a:close/>
                  <a:moveTo>
                    <a:pt x="1000512" y="3883630"/>
                  </a:moveTo>
                  <a:cubicBezTo>
                    <a:pt x="906986" y="3794457"/>
                    <a:pt x="937247" y="3643286"/>
                    <a:pt x="1002465" y="3572924"/>
                  </a:cubicBezTo>
                  <a:cubicBezTo>
                    <a:pt x="1066444" y="3503906"/>
                    <a:pt x="1197623" y="3488533"/>
                    <a:pt x="1287853" y="3566438"/>
                  </a:cubicBezTo>
                  <a:cubicBezTo>
                    <a:pt x="1368577" y="3636142"/>
                    <a:pt x="1398343" y="3782589"/>
                    <a:pt x="1300397" y="3880668"/>
                  </a:cubicBezTo>
                  <a:cubicBezTo>
                    <a:pt x="1220902" y="3960259"/>
                    <a:pt x="1086837" y="3967278"/>
                    <a:pt x="1000512" y="3883630"/>
                  </a:cubicBezTo>
                  <a:close/>
                  <a:moveTo>
                    <a:pt x="1784658" y="4413058"/>
                  </a:moveTo>
                  <a:lnTo>
                    <a:pt x="1376502" y="4004902"/>
                  </a:lnTo>
                  <a:cubicBezTo>
                    <a:pt x="1578080" y="3838224"/>
                    <a:pt x="1735071" y="3619626"/>
                    <a:pt x="1936344" y="3452214"/>
                  </a:cubicBezTo>
                  <a:cubicBezTo>
                    <a:pt x="1982626" y="3564219"/>
                    <a:pt x="2078276" y="4028115"/>
                    <a:pt x="1784658" y="4413058"/>
                  </a:cubicBezTo>
                  <a:close/>
                  <a:moveTo>
                    <a:pt x="3453267" y="2946846"/>
                  </a:moveTo>
                  <a:cubicBezTo>
                    <a:pt x="3768896" y="2817897"/>
                    <a:pt x="4149249" y="2879457"/>
                    <a:pt x="4408110" y="3101037"/>
                  </a:cubicBezTo>
                  <a:lnTo>
                    <a:pt x="4004221" y="3504926"/>
                  </a:lnTo>
                  <a:cubicBezTo>
                    <a:pt x="3840334" y="3302338"/>
                    <a:pt x="3621583" y="3146023"/>
                    <a:pt x="3453267" y="2946846"/>
                  </a:cubicBezTo>
                  <a:close/>
                  <a:moveTo>
                    <a:pt x="3726339" y="3514974"/>
                  </a:moveTo>
                  <a:cubicBezTo>
                    <a:pt x="3783584" y="3514974"/>
                    <a:pt x="3837400" y="3537263"/>
                    <a:pt x="3877872" y="3577744"/>
                  </a:cubicBezTo>
                  <a:cubicBezTo>
                    <a:pt x="3945652" y="3662764"/>
                    <a:pt x="3964426" y="3795562"/>
                    <a:pt x="3877110" y="3881592"/>
                  </a:cubicBezTo>
                  <a:cubicBezTo>
                    <a:pt x="3815578" y="3942494"/>
                    <a:pt x="3724224" y="3960459"/>
                    <a:pt x="3644186" y="3927274"/>
                  </a:cubicBezTo>
                  <a:cubicBezTo>
                    <a:pt x="3566738" y="3895336"/>
                    <a:pt x="3512026" y="3818336"/>
                    <a:pt x="3512026" y="3729277"/>
                  </a:cubicBezTo>
                  <a:cubicBezTo>
                    <a:pt x="3512026" y="3611110"/>
                    <a:pt x="3608162" y="3514974"/>
                    <a:pt x="3726339" y="3514974"/>
                  </a:cubicBezTo>
                  <a:close/>
                  <a:moveTo>
                    <a:pt x="2943003" y="3455529"/>
                  </a:moveTo>
                  <a:cubicBezTo>
                    <a:pt x="3142723" y="3623826"/>
                    <a:pt x="3299104" y="3843111"/>
                    <a:pt x="3501978" y="4007255"/>
                  </a:cubicBezTo>
                  <a:lnTo>
                    <a:pt x="3097755" y="4411477"/>
                  </a:lnTo>
                  <a:cubicBezTo>
                    <a:pt x="2874947" y="4151768"/>
                    <a:pt x="2812253" y="3772778"/>
                    <a:pt x="2943003" y="3455529"/>
                  </a:cubicBezTo>
                  <a:close/>
                  <a:moveTo>
                    <a:pt x="3198787" y="4512518"/>
                  </a:moveTo>
                  <a:lnTo>
                    <a:pt x="3636337" y="4074968"/>
                  </a:lnTo>
                  <a:cubicBezTo>
                    <a:pt x="3734902" y="4100209"/>
                    <a:pt x="3830152" y="4084588"/>
                    <a:pt x="3922087" y="4028115"/>
                  </a:cubicBezTo>
                  <a:lnTo>
                    <a:pt x="4408110" y="4514137"/>
                  </a:lnTo>
                  <a:cubicBezTo>
                    <a:pt x="4064762" y="4808031"/>
                    <a:pt x="3541392" y="4806441"/>
                    <a:pt x="3198787" y="4512518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342905"/>
              <a:endParaRPr lang="ru-RU">
                <a:solidFill>
                  <a:prstClr val="black"/>
                </a:solidFill>
                <a:latin typeface="Calibri" panose="020F0502020204030204"/>
              </a:endParaRPr>
            </a:p>
          </p:txBody>
        </p:sp>
      </p:grpSp>
      <p:grpSp>
        <p:nvGrpSpPr>
          <p:cNvPr id="38" name="Graphic 40">
            <a:extLst>
              <a:ext uri="{FF2B5EF4-FFF2-40B4-BE49-F238E27FC236}">
                <a16:creationId xmlns:a16="http://schemas.microsoft.com/office/drawing/2014/main" id="{E3A805C0-3A0F-4A70-9B16-6E655A9AF257}"/>
              </a:ext>
            </a:extLst>
          </p:cNvPr>
          <p:cNvGrpSpPr/>
          <p:nvPr/>
        </p:nvGrpSpPr>
        <p:grpSpPr>
          <a:xfrm>
            <a:off x="1674139" y="3464021"/>
            <a:ext cx="304679" cy="228553"/>
            <a:chOff x="4281487" y="1950219"/>
            <a:chExt cx="4873102" cy="3655527"/>
          </a:xfrm>
          <a:solidFill>
            <a:srgbClr val="00B050"/>
          </a:solidFill>
        </p:grpSpPr>
        <p:sp>
          <p:nvSpPr>
            <p:cNvPr id="39" name="Freeform: Shape 38">
              <a:extLst>
                <a:ext uri="{FF2B5EF4-FFF2-40B4-BE49-F238E27FC236}">
                  <a16:creationId xmlns:a16="http://schemas.microsoft.com/office/drawing/2014/main" id="{7A1AF283-841B-47E6-A135-BF8E86C3FE67}"/>
                </a:ext>
              </a:extLst>
            </p:cNvPr>
            <p:cNvSpPr/>
            <p:nvPr/>
          </p:nvSpPr>
          <p:spPr>
            <a:xfrm>
              <a:off x="4281487" y="1950219"/>
              <a:ext cx="4873102" cy="3655527"/>
            </a:xfrm>
            <a:custGeom>
              <a:avLst/>
              <a:gdLst>
                <a:gd name="connsiteX0" fmla="*/ 4645214 w 4873102"/>
                <a:gd name="connsiteY0" fmla="*/ 1048483 h 3655527"/>
                <a:gd name="connsiteX1" fmla="*/ 4440217 w 4873102"/>
                <a:gd name="connsiteY1" fmla="*/ 1048483 h 3655527"/>
                <a:gd name="connsiteX2" fmla="*/ 4440217 w 4873102"/>
                <a:gd name="connsiteY2" fmla="*/ 860608 h 3655527"/>
                <a:gd name="connsiteX3" fmla="*/ 4276821 w 4873102"/>
                <a:gd name="connsiteY3" fmla="*/ 697211 h 3655527"/>
                <a:gd name="connsiteX4" fmla="*/ 4229203 w 4873102"/>
                <a:gd name="connsiteY4" fmla="*/ 697211 h 3655527"/>
                <a:gd name="connsiteX5" fmla="*/ 4229203 w 4873102"/>
                <a:gd name="connsiteY5" fmla="*/ 564121 h 3655527"/>
                <a:gd name="connsiteX6" fmla="*/ 4647895 w 4873102"/>
                <a:gd name="connsiteY6" fmla="*/ 564121 h 3655527"/>
                <a:gd name="connsiteX7" fmla="*/ 4873102 w 4873102"/>
                <a:gd name="connsiteY7" fmla="*/ 338914 h 3655527"/>
                <a:gd name="connsiteX8" fmla="*/ 4647895 w 4873102"/>
                <a:gd name="connsiteY8" fmla="*/ 113706 h 3655527"/>
                <a:gd name="connsiteX9" fmla="*/ 4229203 w 4873102"/>
                <a:gd name="connsiteY9" fmla="*/ 113706 h 3655527"/>
                <a:gd name="connsiteX10" fmla="*/ 4229203 w 4873102"/>
                <a:gd name="connsiteY10" fmla="*/ 71298 h 3655527"/>
                <a:gd name="connsiteX11" fmla="*/ 4157905 w 4873102"/>
                <a:gd name="connsiteY11" fmla="*/ 0 h 3655527"/>
                <a:gd name="connsiteX12" fmla="*/ 4086606 w 4873102"/>
                <a:gd name="connsiteY12" fmla="*/ 71298 h 3655527"/>
                <a:gd name="connsiteX13" fmla="*/ 4086606 w 4873102"/>
                <a:gd name="connsiteY13" fmla="*/ 113706 h 3655527"/>
                <a:gd name="connsiteX14" fmla="*/ 3667915 w 4873102"/>
                <a:gd name="connsiteY14" fmla="*/ 113706 h 3655527"/>
                <a:gd name="connsiteX15" fmla="*/ 3442707 w 4873102"/>
                <a:gd name="connsiteY15" fmla="*/ 338914 h 3655527"/>
                <a:gd name="connsiteX16" fmla="*/ 3667915 w 4873102"/>
                <a:gd name="connsiteY16" fmla="*/ 564121 h 3655527"/>
                <a:gd name="connsiteX17" fmla="*/ 4086606 w 4873102"/>
                <a:gd name="connsiteY17" fmla="*/ 564121 h 3655527"/>
                <a:gd name="connsiteX18" fmla="*/ 4086606 w 4873102"/>
                <a:gd name="connsiteY18" fmla="*/ 697211 h 3655527"/>
                <a:gd name="connsiteX19" fmla="*/ 4038998 w 4873102"/>
                <a:gd name="connsiteY19" fmla="*/ 697211 h 3655527"/>
                <a:gd name="connsiteX20" fmla="*/ 3875602 w 4873102"/>
                <a:gd name="connsiteY20" fmla="*/ 860608 h 3655527"/>
                <a:gd name="connsiteX21" fmla="*/ 3875602 w 4873102"/>
                <a:gd name="connsiteY21" fmla="*/ 1048483 h 3655527"/>
                <a:gd name="connsiteX22" fmla="*/ 3688401 w 4873102"/>
                <a:gd name="connsiteY22" fmla="*/ 1048483 h 3655527"/>
                <a:gd name="connsiteX23" fmla="*/ 3599706 w 4873102"/>
                <a:gd name="connsiteY23" fmla="*/ 1070187 h 3655527"/>
                <a:gd name="connsiteX24" fmla="*/ 3568249 w 4873102"/>
                <a:gd name="connsiteY24" fmla="*/ 1086557 h 3655527"/>
                <a:gd name="connsiteX25" fmla="*/ 3291612 w 4873102"/>
                <a:gd name="connsiteY25" fmla="*/ 809919 h 3655527"/>
                <a:gd name="connsiteX26" fmla="*/ 3055653 w 4873102"/>
                <a:gd name="connsiteY26" fmla="*/ 712184 h 3655527"/>
                <a:gd name="connsiteX27" fmla="*/ 2242520 w 4873102"/>
                <a:gd name="connsiteY27" fmla="*/ 712184 h 3655527"/>
                <a:gd name="connsiteX28" fmla="*/ 2171222 w 4873102"/>
                <a:gd name="connsiteY28" fmla="*/ 783482 h 3655527"/>
                <a:gd name="connsiteX29" fmla="*/ 2242520 w 4873102"/>
                <a:gd name="connsiteY29" fmla="*/ 854780 h 3655527"/>
                <a:gd name="connsiteX30" fmla="*/ 3055653 w 4873102"/>
                <a:gd name="connsiteY30" fmla="*/ 854780 h 3655527"/>
                <a:gd name="connsiteX31" fmla="*/ 3190777 w 4873102"/>
                <a:gd name="connsiteY31" fmla="*/ 910754 h 3655527"/>
                <a:gd name="connsiteX32" fmla="*/ 3435625 w 4873102"/>
                <a:gd name="connsiteY32" fmla="*/ 1155602 h 3655527"/>
                <a:gd name="connsiteX33" fmla="*/ 3063800 w 4873102"/>
                <a:gd name="connsiteY33" fmla="*/ 1349153 h 3655527"/>
                <a:gd name="connsiteX34" fmla="*/ 3021525 w 4873102"/>
                <a:gd name="connsiteY34" fmla="*/ 1359496 h 3655527"/>
                <a:gd name="connsiteX35" fmla="*/ 1851587 w 4873102"/>
                <a:gd name="connsiteY35" fmla="*/ 1359496 h 3655527"/>
                <a:gd name="connsiteX36" fmla="*/ 1809312 w 4873102"/>
                <a:gd name="connsiteY36" fmla="*/ 1349153 h 3655527"/>
                <a:gd name="connsiteX37" fmla="*/ 1437487 w 4873102"/>
                <a:gd name="connsiteY37" fmla="*/ 1155602 h 3655527"/>
                <a:gd name="connsiteX38" fmla="*/ 1682334 w 4873102"/>
                <a:gd name="connsiteY38" fmla="*/ 910754 h 3655527"/>
                <a:gd name="connsiteX39" fmla="*/ 1817459 w 4873102"/>
                <a:gd name="connsiteY39" fmla="*/ 854780 h 3655527"/>
                <a:gd name="connsiteX40" fmla="*/ 1938666 w 4873102"/>
                <a:gd name="connsiteY40" fmla="*/ 854780 h 3655527"/>
                <a:gd name="connsiteX41" fmla="*/ 2009964 w 4873102"/>
                <a:gd name="connsiteY41" fmla="*/ 783482 h 3655527"/>
                <a:gd name="connsiteX42" fmla="*/ 1938666 w 4873102"/>
                <a:gd name="connsiteY42" fmla="*/ 712184 h 3655527"/>
                <a:gd name="connsiteX43" fmla="*/ 1817459 w 4873102"/>
                <a:gd name="connsiteY43" fmla="*/ 712184 h 3655527"/>
                <a:gd name="connsiteX44" fmla="*/ 1581500 w 4873102"/>
                <a:gd name="connsiteY44" fmla="*/ 809919 h 3655527"/>
                <a:gd name="connsiteX45" fmla="*/ 1304863 w 4873102"/>
                <a:gd name="connsiteY45" fmla="*/ 1086557 h 3655527"/>
                <a:gd name="connsiteX46" fmla="*/ 1273406 w 4873102"/>
                <a:gd name="connsiteY46" fmla="*/ 1070187 h 3655527"/>
                <a:gd name="connsiteX47" fmla="*/ 1184701 w 4873102"/>
                <a:gd name="connsiteY47" fmla="*/ 1048483 h 3655527"/>
                <a:gd name="connsiteX48" fmla="*/ 997501 w 4873102"/>
                <a:gd name="connsiteY48" fmla="*/ 1048483 h 3655527"/>
                <a:gd name="connsiteX49" fmla="*/ 997501 w 4873102"/>
                <a:gd name="connsiteY49" fmla="*/ 860608 h 3655527"/>
                <a:gd name="connsiteX50" fmla="*/ 834104 w 4873102"/>
                <a:gd name="connsiteY50" fmla="*/ 697211 h 3655527"/>
                <a:gd name="connsiteX51" fmla="*/ 786496 w 4873102"/>
                <a:gd name="connsiteY51" fmla="*/ 697211 h 3655527"/>
                <a:gd name="connsiteX52" fmla="*/ 786496 w 4873102"/>
                <a:gd name="connsiteY52" fmla="*/ 564121 h 3655527"/>
                <a:gd name="connsiteX53" fmla="*/ 1205188 w 4873102"/>
                <a:gd name="connsiteY53" fmla="*/ 564121 h 3655527"/>
                <a:gd name="connsiteX54" fmla="*/ 1430395 w 4873102"/>
                <a:gd name="connsiteY54" fmla="*/ 338914 h 3655527"/>
                <a:gd name="connsiteX55" fmla="*/ 1205188 w 4873102"/>
                <a:gd name="connsiteY55" fmla="*/ 113706 h 3655527"/>
                <a:gd name="connsiteX56" fmla="*/ 786496 w 4873102"/>
                <a:gd name="connsiteY56" fmla="*/ 113706 h 3655527"/>
                <a:gd name="connsiteX57" fmla="*/ 786496 w 4873102"/>
                <a:gd name="connsiteY57" fmla="*/ 71298 h 3655527"/>
                <a:gd name="connsiteX58" fmla="*/ 715198 w 4873102"/>
                <a:gd name="connsiteY58" fmla="*/ 0 h 3655527"/>
                <a:gd name="connsiteX59" fmla="*/ 643899 w 4873102"/>
                <a:gd name="connsiteY59" fmla="*/ 71298 h 3655527"/>
                <a:gd name="connsiteX60" fmla="*/ 643899 w 4873102"/>
                <a:gd name="connsiteY60" fmla="*/ 113706 h 3655527"/>
                <a:gd name="connsiteX61" fmla="*/ 225207 w 4873102"/>
                <a:gd name="connsiteY61" fmla="*/ 113706 h 3655527"/>
                <a:gd name="connsiteX62" fmla="*/ 0 w 4873102"/>
                <a:gd name="connsiteY62" fmla="*/ 338923 h 3655527"/>
                <a:gd name="connsiteX63" fmla="*/ 225207 w 4873102"/>
                <a:gd name="connsiteY63" fmla="*/ 564131 h 3655527"/>
                <a:gd name="connsiteX64" fmla="*/ 643899 w 4873102"/>
                <a:gd name="connsiteY64" fmla="*/ 564131 h 3655527"/>
                <a:gd name="connsiteX65" fmla="*/ 643899 w 4873102"/>
                <a:gd name="connsiteY65" fmla="*/ 697221 h 3655527"/>
                <a:gd name="connsiteX66" fmla="*/ 596291 w 4873102"/>
                <a:gd name="connsiteY66" fmla="*/ 697221 h 3655527"/>
                <a:gd name="connsiteX67" fmla="*/ 432894 w 4873102"/>
                <a:gd name="connsiteY67" fmla="*/ 860617 h 3655527"/>
                <a:gd name="connsiteX68" fmla="*/ 432894 w 4873102"/>
                <a:gd name="connsiteY68" fmla="*/ 1048493 h 3655527"/>
                <a:gd name="connsiteX69" fmla="*/ 227898 w 4873102"/>
                <a:gd name="connsiteY69" fmla="*/ 1048493 h 3655527"/>
                <a:gd name="connsiteX70" fmla="*/ 1093 w 4873102"/>
                <a:gd name="connsiteY70" fmla="*/ 1275298 h 3655527"/>
                <a:gd name="connsiteX71" fmla="*/ 227898 w 4873102"/>
                <a:gd name="connsiteY71" fmla="*/ 1502102 h 3655527"/>
                <a:gd name="connsiteX72" fmla="*/ 686203 w 4873102"/>
                <a:gd name="connsiteY72" fmla="*/ 1502102 h 3655527"/>
                <a:gd name="connsiteX73" fmla="*/ 349495 w 4873102"/>
                <a:gd name="connsiteY73" fmla="*/ 2007797 h 3655527"/>
                <a:gd name="connsiteX74" fmla="*/ 328067 w 4873102"/>
                <a:gd name="connsiteY74" fmla="*/ 2092423 h 3655527"/>
                <a:gd name="connsiteX75" fmla="*/ 349780 w 4873102"/>
                <a:gd name="connsiteY75" fmla="*/ 2329352 h 3655527"/>
                <a:gd name="connsiteX76" fmla="*/ 420698 w 4873102"/>
                <a:gd name="connsiteY76" fmla="*/ 2394148 h 3655527"/>
                <a:gd name="connsiteX77" fmla="*/ 427286 w 4873102"/>
                <a:gd name="connsiteY77" fmla="*/ 2393843 h 3655527"/>
                <a:gd name="connsiteX78" fmla="*/ 491777 w 4873102"/>
                <a:gd name="connsiteY78" fmla="*/ 2316338 h 3655527"/>
                <a:gd name="connsiteX79" fmla="*/ 470445 w 4873102"/>
                <a:gd name="connsiteY79" fmla="*/ 2083439 h 3655527"/>
                <a:gd name="connsiteX80" fmla="*/ 857518 w 4873102"/>
                <a:gd name="connsiteY80" fmla="*/ 1502092 h 3655527"/>
                <a:gd name="connsiteX81" fmla="*/ 887673 w 4873102"/>
                <a:gd name="connsiteY81" fmla="*/ 1502092 h 3655527"/>
                <a:gd name="connsiteX82" fmla="*/ 1104828 w 4873102"/>
                <a:gd name="connsiteY82" fmla="*/ 1745524 h 3655527"/>
                <a:gd name="connsiteX83" fmla="*/ 680851 w 4873102"/>
                <a:gd name="connsiteY83" fmla="*/ 2150764 h 3655527"/>
                <a:gd name="connsiteX84" fmla="*/ 640334 w 4873102"/>
                <a:gd name="connsiteY84" fmla="*/ 2245534 h 3655527"/>
                <a:gd name="connsiteX85" fmla="*/ 640334 w 4873102"/>
                <a:gd name="connsiteY85" fmla="*/ 3082727 h 3655527"/>
                <a:gd name="connsiteX86" fmla="*/ 601253 w 4873102"/>
                <a:gd name="connsiteY86" fmla="*/ 3121808 h 3655527"/>
                <a:gd name="connsiteX87" fmla="*/ 562344 w 4873102"/>
                <a:gd name="connsiteY87" fmla="*/ 3086292 h 3655527"/>
                <a:gd name="connsiteX88" fmla="*/ 519517 w 4873102"/>
                <a:gd name="connsiteY88" fmla="*/ 2619003 h 3655527"/>
                <a:gd name="connsiteX89" fmla="*/ 442011 w 4873102"/>
                <a:gd name="connsiteY89" fmla="*/ 2554512 h 3655527"/>
                <a:gd name="connsiteX90" fmla="*/ 377519 w 4873102"/>
                <a:gd name="connsiteY90" fmla="*/ 2632018 h 3655527"/>
                <a:gd name="connsiteX91" fmla="*/ 420346 w 4873102"/>
                <a:gd name="connsiteY91" fmla="*/ 3099306 h 3655527"/>
                <a:gd name="connsiteX92" fmla="*/ 601253 w 4873102"/>
                <a:gd name="connsiteY92" fmla="*/ 3264405 h 3655527"/>
                <a:gd name="connsiteX93" fmla="*/ 782931 w 4873102"/>
                <a:gd name="connsiteY93" fmla="*/ 3082727 h 3655527"/>
                <a:gd name="connsiteX94" fmla="*/ 782931 w 4873102"/>
                <a:gd name="connsiteY94" fmla="*/ 2250448 h 3655527"/>
                <a:gd name="connsiteX95" fmla="*/ 1199807 w 4873102"/>
                <a:gd name="connsiteY95" fmla="*/ 1851996 h 3655527"/>
                <a:gd name="connsiteX96" fmla="*/ 1554454 w 4873102"/>
                <a:gd name="connsiteY96" fmla="*/ 2249564 h 3655527"/>
                <a:gd name="connsiteX97" fmla="*/ 1729192 w 4873102"/>
                <a:gd name="connsiteY97" fmla="*/ 2327840 h 3655527"/>
                <a:gd name="connsiteX98" fmla="*/ 2152570 w 4873102"/>
                <a:gd name="connsiteY98" fmla="*/ 2327840 h 3655527"/>
                <a:gd name="connsiteX99" fmla="*/ 2152570 w 4873102"/>
                <a:gd name="connsiteY99" fmla="*/ 2600903 h 3655527"/>
                <a:gd name="connsiteX100" fmla="*/ 2107918 w 4873102"/>
                <a:gd name="connsiteY100" fmla="*/ 2629280 h 3655527"/>
                <a:gd name="connsiteX101" fmla="*/ 1726587 w 4873102"/>
                <a:gd name="connsiteY101" fmla="*/ 2629280 h 3655527"/>
                <a:gd name="connsiteX102" fmla="*/ 1569293 w 4873102"/>
                <a:gd name="connsiteY102" fmla="*/ 2786573 h 3655527"/>
                <a:gd name="connsiteX103" fmla="*/ 1569293 w 4873102"/>
                <a:gd name="connsiteY103" fmla="*/ 2870544 h 3655527"/>
                <a:gd name="connsiteX104" fmla="*/ 1435700 w 4873102"/>
                <a:gd name="connsiteY104" fmla="*/ 2870544 h 3655527"/>
                <a:gd name="connsiteX105" fmla="*/ 1435700 w 4873102"/>
                <a:gd name="connsiteY105" fmla="*/ 2852957 h 3655527"/>
                <a:gd name="connsiteX106" fmla="*/ 1290194 w 4873102"/>
                <a:gd name="connsiteY106" fmla="*/ 2707451 h 3655527"/>
                <a:gd name="connsiteX107" fmla="*/ 1162418 w 4873102"/>
                <a:gd name="connsiteY107" fmla="*/ 2707451 h 3655527"/>
                <a:gd name="connsiteX108" fmla="*/ 1016913 w 4873102"/>
                <a:gd name="connsiteY108" fmla="*/ 2852957 h 3655527"/>
                <a:gd name="connsiteX109" fmla="*/ 1016913 w 4873102"/>
                <a:gd name="connsiteY109" fmla="*/ 3329257 h 3655527"/>
                <a:gd name="connsiteX110" fmla="*/ 1162418 w 4873102"/>
                <a:gd name="connsiteY110" fmla="*/ 3474763 h 3655527"/>
                <a:gd name="connsiteX111" fmla="*/ 1290194 w 4873102"/>
                <a:gd name="connsiteY111" fmla="*/ 3474763 h 3655527"/>
                <a:gd name="connsiteX112" fmla="*/ 1435700 w 4873102"/>
                <a:gd name="connsiteY112" fmla="*/ 3329257 h 3655527"/>
                <a:gd name="connsiteX113" fmla="*/ 1435700 w 4873102"/>
                <a:gd name="connsiteY113" fmla="*/ 3311670 h 3655527"/>
                <a:gd name="connsiteX114" fmla="*/ 1569293 w 4873102"/>
                <a:gd name="connsiteY114" fmla="*/ 3311670 h 3655527"/>
                <a:gd name="connsiteX115" fmla="*/ 1569293 w 4873102"/>
                <a:gd name="connsiteY115" fmla="*/ 3395641 h 3655527"/>
                <a:gd name="connsiteX116" fmla="*/ 1726587 w 4873102"/>
                <a:gd name="connsiteY116" fmla="*/ 3552934 h 3655527"/>
                <a:gd name="connsiteX117" fmla="*/ 2107918 w 4873102"/>
                <a:gd name="connsiteY117" fmla="*/ 3552934 h 3655527"/>
                <a:gd name="connsiteX118" fmla="*/ 2431803 w 4873102"/>
                <a:gd name="connsiteY118" fmla="*/ 3655528 h 3655527"/>
                <a:gd name="connsiteX119" fmla="*/ 2755687 w 4873102"/>
                <a:gd name="connsiteY119" fmla="*/ 3552934 h 3655527"/>
                <a:gd name="connsiteX120" fmla="*/ 3137009 w 4873102"/>
                <a:gd name="connsiteY120" fmla="*/ 3552934 h 3655527"/>
                <a:gd name="connsiteX121" fmla="*/ 3294312 w 4873102"/>
                <a:gd name="connsiteY121" fmla="*/ 3395641 h 3655527"/>
                <a:gd name="connsiteX122" fmla="*/ 3294312 w 4873102"/>
                <a:gd name="connsiteY122" fmla="*/ 3311670 h 3655527"/>
                <a:gd name="connsiteX123" fmla="*/ 3427906 w 4873102"/>
                <a:gd name="connsiteY123" fmla="*/ 3311670 h 3655527"/>
                <a:gd name="connsiteX124" fmla="*/ 3427906 w 4873102"/>
                <a:gd name="connsiteY124" fmla="*/ 3329257 h 3655527"/>
                <a:gd name="connsiteX125" fmla="*/ 3573411 w 4873102"/>
                <a:gd name="connsiteY125" fmla="*/ 3474763 h 3655527"/>
                <a:gd name="connsiteX126" fmla="*/ 3701187 w 4873102"/>
                <a:gd name="connsiteY126" fmla="*/ 3474763 h 3655527"/>
                <a:gd name="connsiteX127" fmla="*/ 3846692 w 4873102"/>
                <a:gd name="connsiteY127" fmla="*/ 3329257 h 3655527"/>
                <a:gd name="connsiteX128" fmla="*/ 3846692 w 4873102"/>
                <a:gd name="connsiteY128" fmla="*/ 2852957 h 3655527"/>
                <a:gd name="connsiteX129" fmla="*/ 3701187 w 4873102"/>
                <a:gd name="connsiteY129" fmla="*/ 2707451 h 3655527"/>
                <a:gd name="connsiteX130" fmla="*/ 3573411 w 4873102"/>
                <a:gd name="connsiteY130" fmla="*/ 2707451 h 3655527"/>
                <a:gd name="connsiteX131" fmla="*/ 3427906 w 4873102"/>
                <a:gd name="connsiteY131" fmla="*/ 2852957 h 3655527"/>
                <a:gd name="connsiteX132" fmla="*/ 3427906 w 4873102"/>
                <a:gd name="connsiteY132" fmla="*/ 2870544 h 3655527"/>
                <a:gd name="connsiteX133" fmla="*/ 3294312 w 4873102"/>
                <a:gd name="connsiteY133" fmla="*/ 2870544 h 3655527"/>
                <a:gd name="connsiteX134" fmla="*/ 3294312 w 4873102"/>
                <a:gd name="connsiteY134" fmla="*/ 2786573 h 3655527"/>
                <a:gd name="connsiteX135" fmla="*/ 3137009 w 4873102"/>
                <a:gd name="connsiteY135" fmla="*/ 2629280 h 3655527"/>
                <a:gd name="connsiteX136" fmla="*/ 2755687 w 4873102"/>
                <a:gd name="connsiteY136" fmla="*/ 2629280 h 3655527"/>
                <a:gd name="connsiteX137" fmla="*/ 2711035 w 4873102"/>
                <a:gd name="connsiteY137" fmla="*/ 2600903 h 3655527"/>
                <a:gd name="connsiteX138" fmla="*/ 2711035 w 4873102"/>
                <a:gd name="connsiteY138" fmla="*/ 2327850 h 3655527"/>
                <a:gd name="connsiteX139" fmla="*/ 3143920 w 4873102"/>
                <a:gd name="connsiteY139" fmla="*/ 2327850 h 3655527"/>
                <a:gd name="connsiteX140" fmla="*/ 3318648 w 4873102"/>
                <a:gd name="connsiteY140" fmla="*/ 2249574 h 3655527"/>
                <a:gd name="connsiteX141" fmla="*/ 3673305 w 4873102"/>
                <a:gd name="connsiteY141" fmla="*/ 1852005 h 3655527"/>
                <a:gd name="connsiteX142" fmla="*/ 4090181 w 4873102"/>
                <a:gd name="connsiteY142" fmla="*/ 2250458 h 3655527"/>
                <a:gd name="connsiteX143" fmla="*/ 4090181 w 4873102"/>
                <a:gd name="connsiteY143" fmla="*/ 3082737 h 3655527"/>
                <a:gd name="connsiteX144" fmla="*/ 4271849 w 4873102"/>
                <a:gd name="connsiteY144" fmla="*/ 3264414 h 3655527"/>
                <a:gd name="connsiteX145" fmla="*/ 4452756 w 4873102"/>
                <a:gd name="connsiteY145" fmla="*/ 3099316 h 3655527"/>
                <a:gd name="connsiteX146" fmla="*/ 4545035 w 4873102"/>
                <a:gd name="connsiteY146" fmla="*/ 2092404 h 3655527"/>
                <a:gd name="connsiteX147" fmla="*/ 4523608 w 4873102"/>
                <a:gd name="connsiteY147" fmla="*/ 2007797 h 3655527"/>
                <a:gd name="connsiteX148" fmla="*/ 4186899 w 4873102"/>
                <a:gd name="connsiteY148" fmla="*/ 1502102 h 3655527"/>
                <a:gd name="connsiteX149" fmla="*/ 4645205 w 4873102"/>
                <a:gd name="connsiteY149" fmla="*/ 1502102 h 3655527"/>
                <a:gd name="connsiteX150" fmla="*/ 4871999 w 4873102"/>
                <a:gd name="connsiteY150" fmla="*/ 1275298 h 3655527"/>
                <a:gd name="connsiteX151" fmla="*/ 4645214 w 4873102"/>
                <a:gd name="connsiteY151" fmla="*/ 1048483 h 3655527"/>
                <a:gd name="connsiteX152" fmla="*/ 4647895 w 4873102"/>
                <a:gd name="connsiteY152" fmla="*/ 256303 h 3655527"/>
                <a:gd name="connsiteX153" fmla="*/ 4730506 w 4873102"/>
                <a:gd name="connsiteY153" fmla="*/ 338914 h 3655527"/>
                <a:gd name="connsiteX154" fmla="*/ 4647895 w 4873102"/>
                <a:gd name="connsiteY154" fmla="*/ 421525 h 3655527"/>
                <a:gd name="connsiteX155" fmla="*/ 4229203 w 4873102"/>
                <a:gd name="connsiteY155" fmla="*/ 421525 h 3655527"/>
                <a:gd name="connsiteX156" fmla="*/ 4229203 w 4873102"/>
                <a:gd name="connsiteY156" fmla="*/ 256303 h 3655527"/>
                <a:gd name="connsiteX157" fmla="*/ 3667915 w 4873102"/>
                <a:gd name="connsiteY157" fmla="*/ 421534 h 3655527"/>
                <a:gd name="connsiteX158" fmla="*/ 3585304 w 4873102"/>
                <a:gd name="connsiteY158" fmla="*/ 338923 h 3655527"/>
                <a:gd name="connsiteX159" fmla="*/ 3667915 w 4873102"/>
                <a:gd name="connsiteY159" fmla="*/ 256312 h 3655527"/>
                <a:gd name="connsiteX160" fmla="*/ 4086606 w 4873102"/>
                <a:gd name="connsiteY160" fmla="*/ 256312 h 3655527"/>
                <a:gd name="connsiteX161" fmla="*/ 4086606 w 4873102"/>
                <a:gd name="connsiteY161" fmla="*/ 421534 h 3655527"/>
                <a:gd name="connsiteX162" fmla="*/ 1205188 w 4873102"/>
                <a:gd name="connsiteY162" fmla="*/ 256303 h 3655527"/>
                <a:gd name="connsiteX163" fmla="*/ 1287799 w 4873102"/>
                <a:gd name="connsiteY163" fmla="*/ 338914 h 3655527"/>
                <a:gd name="connsiteX164" fmla="*/ 1205188 w 4873102"/>
                <a:gd name="connsiteY164" fmla="*/ 421525 h 3655527"/>
                <a:gd name="connsiteX165" fmla="*/ 786496 w 4873102"/>
                <a:gd name="connsiteY165" fmla="*/ 421525 h 3655527"/>
                <a:gd name="connsiteX166" fmla="*/ 786496 w 4873102"/>
                <a:gd name="connsiteY166" fmla="*/ 256303 h 3655527"/>
                <a:gd name="connsiteX167" fmla="*/ 225207 w 4873102"/>
                <a:gd name="connsiteY167" fmla="*/ 421534 h 3655527"/>
                <a:gd name="connsiteX168" fmla="*/ 142596 w 4873102"/>
                <a:gd name="connsiteY168" fmla="*/ 338923 h 3655527"/>
                <a:gd name="connsiteX169" fmla="*/ 225207 w 4873102"/>
                <a:gd name="connsiteY169" fmla="*/ 256312 h 3655527"/>
                <a:gd name="connsiteX170" fmla="*/ 643899 w 4873102"/>
                <a:gd name="connsiteY170" fmla="*/ 256312 h 3655527"/>
                <a:gd name="connsiteX171" fmla="*/ 643899 w 4873102"/>
                <a:gd name="connsiteY171" fmla="*/ 421534 h 3655527"/>
                <a:gd name="connsiteX172" fmla="*/ 4018208 w 4873102"/>
                <a:gd name="connsiteY172" fmla="*/ 860608 h 3655527"/>
                <a:gd name="connsiteX173" fmla="*/ 4039008 w 4873102"/>
                <a:gd name="connsiteY173" fmla="*/ 839808 h 3655527"/>
                <a:gd name="connsiteX174" fmla="*/ 4276830 w 4873102"/>
                <a:gd name="connsiteY174" fmla="*/ 839808 h 3655527"/>
                <a:gd name="connsiteX175" fmla="*/ 4297630 w 4873102"/>
                <a:gd name="connsiteY175" fmla="*/ 860608 h 3655527"/>
                <a:gd name="connsiteX176" fmla="*/ 4297630 w 4873102"/>
                <a:gd name="connsiteY176" fmla="*/ 1048483 h 3655527"/>
                <a:gd name="connsiteX177" fmla="*/ 4018217 w 4873102"/>
                <a:gd name="connsiteY177" fmla="*/ 1048483 h 3655527"/>
                <a:gd name="connsiteX178" fmla="*/ 4018217 w 4873102"/>
                <a:gd name="connsiteY178" fmla="*/ 860608 h 3655527"/>
                <a:gd name="connsiteX179" fmla="*/ 575491 w 4873102"/>
                <a:gd name="connsiteY179" fmla="*/ 860608 h 3655527"/>
                <a:gd name="connsiteX180" fmla="*/ 596291 w 4873102"/>
                <a:gd name="connsiteY180" fmla="*/ 839808 h 3655527"/>
                <a:gd name="connsiteX181" fmla="*/ 834113 w 4873102"/>
                <a:gd name="connsiteY181" fmla="*/ 839808 h 3655527"/>
                <a:gd name="connsiteX182" fmla="*/ 854914 w 4873102"/>
                <a:gd name="connsiteY182" fmla="*/ 860608 h 3655527"/>
                <a:gd name="connsiteX183" fmla="*/ 854914 w 4873102"/>
                <a:gd name="connsiteY183" fmla="*/ 1048483 h 3655527"/>
                <a:gd name="connsiteX184" fmla="*/ 575491 w 4873102"/>
                <a:gd name="connsiteY184" fmla="*/ 1048483 h 3655527"/>
                <a:gd name="connsiteX185" fmla="*/ 1293103 w 4873102"/>
                <a:gd name="connsiteY185" fmla="*/ 3329267 h 3655527"/>
                <a:gd name="connsiteX186" fmla="*/ 1290194 w 4873102"/>
                <a:gd name="connsiteY186" fmla="*/ 3332176 h 3655527"/>
                <a:gd name="connsiteX187" fmla="*/ 1162418 w 4873102"/>
                <a:gd name="connsiteY187" fmla="*/ 3332176 h 3655527"/>
                <a:gd name="connsiteX188" fmla="*/ 1159509 w 4873102"/>
                <a:gd name="connsiteY188" fmla="*/ 3329267 h 3655527"/>
                <a:gd name="connsiteX189" fmla="*/ 1159509 w 4873102"/>
                <a:gd name="connsiteY189" fmla="*/ 2852966 h 3655527"/>
                <a:gd name="connsiteX190" fmla="*/ 1162418 w 4873102"/>
                <a:gd name="connsiteY190" fmla="*/ 2850057 h 3655527"/>
                <a:gd name="connsiteX191" fmla="*/ 1290194 w 4873102"/>
                <a:gd name="connsiteY191" fmla="*/ 2850057 h 3655527"/>
                <a:gd name="connsiteX192" fmla="*/ 1293103 w 4873102"/>
                <a:gd name="connsiteY192" fmla="*/ 2852966 h 3655527"/>
                <a:gd name="connsiteX193" fmla="*/ 1435700 w 4873102"/>
                <a:gd name="connsiteY193" fmla="*/ 3169084 h 3655527"/>
                <a:gd name="connsiteX194" fmla="*/ 1435700 w 4873102"/>
                <a:gd name="connsiteY194" fmla="*/ 3013149 h 3655527"/>
                <a:gd name="connsiteX195" fmla="*/ 1569293 w 4873102"/>
                <a:gd name="connsiteY195" fmla="*/ 3013149 h 3655527"/>
                <a:gd name="connsiteX196" fmla="*/ 1569293 w 4873102"/>
                <a:gd name="connsiteY196" fmla="*/ 3169084 h 3655527"/>
                <a:gd name="connsiteX197" fmla="*/ 1711890 w 4873102"/>
                <a:gd name="connsiteY197" fmla="*/ 3395650 h 3655527"/>
                <a:gd name="connsiteX198" fmla="*/ 1711890 w 4873102"/>
                <a:gd name="connsiteY198" fmla="*/ 2786583 h 3655527"/>
                <a:gd name="connsiteX199" fmla="*/ 1726587 w 4873102"/>
                <a:gd name="connsiteY199" fmla="*/ 2771886 h 3655527"/>
                <a:gd name="connsiteX200" fmla="*/ 1966662 w 4873102"/>
                <a:gd name="connsiteY200" fmla="*/ 2771886 h 3655527"/>
                <a:gd name="connsiteX201" fmla="*/ 1867377 w 4873102"/>
                <a:gd name="connsiteY201" fmla="*/ 3091121 h 3655527"/>
                <a:gd name="connsiteX202" fmla="*/ 1966662 w 4873102"/>
                <a:gd name="connsiteY202" fmla="*/ 3410357 h 3655527"/>
                <a:gd name="connsiteX203" fmla="*/ 1726587 w 4873102"/>
                <a:gd name="connsiteY203" fmla="*/ 3410357 h 3655527"/>
                <a:gd name="connsiteX204" fmla="*/ 1711890 w 4873102"/>
                <a:gd name="connsiteY204" fmla="*/ 3395650 h 3655527"/>
                <a:gd name="connsiteX205" fmla="*/ 2009974 w 4873102"/>
                <a:gd name="connsiteY205" fmla="*/ 3091112 h 3655527"/>
                <a:gd name="connsiteX206" fmla="*/ 2431803 w 4873102"/>
                <a:gd name="connsiteY206" fmla="*/ 2669283 h 3655527"/>
                <a:gd name="connsiteX207" fmla="*/ 2853631 w 4873102"/>
                <a:gd name="connsiteY207" fmla="*/ 3091112 h 3655527"/>
                <a:gd name="connsiteX208" fmla="*/ 2431803 w 4873102"/>
                <a:gd name="connsiteY208" fmla="*/ 3512941 h 3655527"/>
                <a:gd name="connsiteX209" fmla="*/ 2009974 w 4873102"/>
                <a:gd name="connsiteY209" fmla="*/ 3091112 h 3655527"/>
                <a:gd name="connsiteX210" fmla="*/ 3570502 w 4873102"/>
                <a:gd name="connsiteY210" fmla="*/ 2852966 h 3655527"/>
                <a:gd name="connsiteX211" fmla="*/ 3573411 w 4873102"/>
                <a:gd name="connsiteY211" fmla="*/ 2850057 h 3655527"/>
                <a:gd name="connsiteX212" fmla="*/ 3701187 w 4873102"/>
                <a:gd name="connsiteY212" fmla="*/ 2850057 h 3655527"/>
                <a:gd name="connsiteX213" fmla="*/ 3704096 w 4873102"/>
                <a:gd name="connsiteY213" fmla="*/ 2852966 h 3655527"/>
                <a:gd name="connsiteX214" fmla="*/ 3704096 w 4873102"/>
                <a:gd name="connsiteY214" fmla="*/ 3329267 h 3655527"/>
                <a:gd name="connsiteX215" fmla="*/ 3701187 w 4873102"/>
                <a:gd name="connsiteY215" fmla="*/ 3332176 h 3655527"/>
                <a:gd name="connsiteX216" fmla="*/ 3573411 w 4873102"/>
                <a:gd name="connsiteY216" fmla="*/ 3332176 h 3655527"/>
                <a:gd name="connsiteX217" fmla="*/ 3570502 w 4873102"/>
                <a:gd name="connsiteY217" fmla="*/ 3329267 h 3655527"/>
                <a:gd name="connsiteX218" fmla="*/ 3427906 w 4873102"/>
                <a:gd name="connsiteY218" fmla="*/ 3013149 h 3655527"/>
                <a:gd name="connsiteX219" fmla="*/ 3427906 w 4873102"/>
                <a:gd name="connsiteY219" fmla="*/ 3169084 h 3655527"/>
                <a:gd name="connsiteX220" fmla="*/ 3294312 w 4873102"/>
                <a:gd name="connsiteY220" fmla="*/ 3169084 h 3655527"/>
                <a:gd name="connsiteX221" fmla="*/ 3294312 w 4873102"/>
                <a:gd name="connsiteY221" fmla="*/ 3013149 h 3655527"/>
                <a:gd name="connsiteX222" fmla="*/ 3151715 w 4873102"/>
                <a:gd name="connsiteY222" fmla="*/ 2786583 h 3655527"/>
                <a:gd name="connsiteX223" fmla="*/ 3151715 w 4873102"/>
                <a:gd name="connsiteY223" fmla="*/ 3395650 h 3655527"/>
                <a:gd name="connsiteX224" fmla="*/ 3137009 w 4873102"/>
                <a:gd name="connsiteY224" fmla="*/ 3410347 h 3655527"/>
                <a:gd name="connsiteX225" fmla="*/ 2896943 w 4873102"/>
                <a:gd name="connsiteY225" fmla="*/ 3410347 h 3655527"/>
                <a:gd name="connsiteX226" fmla="*/ 2996228 w 4873102"/>
                <a:gd name="connsiteY226" fmla="*/ 3091112 h 3655527"/>
                <a:gd name="connsiteX227" fmla="*/ 2896943 w 4873102"/>
                <a:gd name="connsiteY227" fmla="*/ 2771876 h 3655527"/>
                <a:gd name="connsiteX228" fmla="*/ 3137009 w 4873102"/>
                <a:gd name="connsiteY228" fmla="*/ 2771876 h 3655527"/>
                <a:gd name="connsiteX229" fmla="*/ 3151715 w 4873102"/>
                <a:gd name="connsiteY229" fmla="*/ 2786583 h 3655527"/>
                <a:gd name="connsiteX230" fmla="*/ 2568438 w 4873102"/>
                <a:gd name="connsiteY230" fmla="*/ 2543503 h 3655527"/>
                <a:gd name="connsiteX231" fmla="*/ 2431803 w 4873102"/>
                <a:gd name="connsiteY231" fmla="*/ 2526686 h 3655527"/>
                <a:gd name="connsiteX232" fmla="*/ 2295167 w 4873102"/>
                <a:gd name="connsiteY232" fmla="*/ 2543503 h 3655527"/>
                <a:gd name="connsiteX233" fmla="*/ 2295167 w 4873102"/>
                <a:gd name="connsiteY233" fmla="*/ 2327850 h 3655527"/>
                <a:gd name="connsiteX234" fmla="*/ 2568438 w 4873102"/>
                <a:gd name="connsiteY234" fmla="*/ 2327850 h 3655527"/>
                <a:gd name="connsiteX235" fmla="*/ 4402667 w 4873102"/>
                <a:gd name="connsiteY235" fmla="*/ 2083439 h 3655527"/>
                <a:gd name="connsiteX236" fmla="*/ 4310759 w 4873102"/>
                <a:gd name="connsiteY236" fmla="*/ 3086301 h 3655527"/>
                <a:gd name="connsiteX237" fmla="*/ 4271849 w 4873102"/>
                <a:gd name="connsiteY237" fmla="*/ 3121817 h 3655527"/>
                <a:gd name="connsiteX238" fmla="*/ 4232777 w 4873102"/>
                <a:gd name="connsiteY238" fmla="*/ 3082737 h 3655527"/>
                <a:gd name="connsiteX239" fmla="*/ 4232777 w 4873102"/>
                <a:gd name="connsiteY239" fmla="*/ 2245543 h 3655527"/>
                <a:gd name="connsiteX240" fmla="*/ 4192251 w 4873102"/>
                <a:gd name="connsiteY240" fmla="*/ 2150764 h 3655527"/>
                <a:gd name="connsiteX241" fmla="*/ 3768274 w 4873102"/>
                <a:gd name="connsiteY241" fmla="*/ 1745533 h 3655527"/>
                <a:gd name="connsiteX242" fmla="*/ 3985429 w 4873102"/>
                <a:gd name="connsiteY242" fmla="*/ 1502102 h 3655527"/>
                <a:gd name="connsiteX243" fmla="*/ 4015574 w 4873102"/>
                <a:gd name="connsiteY243" fmla="*/ 1502102 h 3655527"/>
                <a:gd name="connsiteX244" fmla="*/ 4645214 w 4873102"/>
                <a:gd name="connsiteY244" fmla="*/ 1359496 h 3655527"/>
                <a:gd name="connsiteX245" fmla="*/ 3953488 w 4873102"/>
                <a:gd name="connsiteY245" fmla="*/ 1359496 h 3655527"/>
                <a:gd name="connsiteX246" fmla="*/ 3900280 w 4873102"/>
                <a:gd name="connsiteY246" fmla="*/ 1383329 h 3655527"/>
                <a:gd name="connsiteX247" fmla="*/ 3433819 w 4873102"/>
                <a:gd name="connsiteY247" fmla="*/ 1906239 h 3655527"/>
                <a:gd name="connsiteX248" fmla="*/ 3076852 w 4873102"/>
                <a:gd name="connsiteY248" fmla="*/ 1906239 h 3655527"/>
                <a:gd name="connsiteX249" fmla="*/ 3005554 w 4873102"/>
                <a:gd name="connsiteY249" fmla="*/ 1977538 h 3655527"/>
                <a:gd name="connsiteX250" fmla="*/ 3076852 w 4873102"/>
                <a:gd name="connsiteY250" fmla="*/ 2048836 h 3655527"/>
                <a:gd name="connsiteX251" fmla="*/ 3306623 w 4873102"/>
                <a:gd name="connsiteY251" fmla="*/ 2048836 h 3655527"/>
                <a:gd name="connsiteX252" fmla="*/ 3212233 w 4873102"/>
                <a:gd name="connsiteY252" fmla="*/ 2154643 h 3655527"/>
                <a:gd name="connsiteX253" fmla="*/ 3143910 w 4873102"/>
                <a:gd name="connsiteY253" fmla="*/ 2185244 h 3655527"/>
                <a:gd name="connsiteX254" fmla="*/ 1729192 w 4873102"/>
                <a:gd name="connsiteY254" fmla="*/ 2185244 h 3655527"/>
                <a:gd name="connsiteX255" fmla="*/ 1660859 w 4873102"/>
                <a:gd name="connsiteY255" fmla="*/ 2154633 h 3655527"/>
                <a:gd name="connsiteX256" fmla="*/ 1566480 w 4873102"/>
                <a:gd name="connsiteY256" fmla="*/ 2048826 h 3655527"/>
                <a:gd name="connsiteX257" fmla="*/ 2772998 w 4873102"/>
                <a:gd name="connsiteY257" fmla="*/ 2048826 h 3655527"/>
                <a:gd name="connsiteX258" fmla="*/ 2844296 w 4873102"/>
                <a:gd name="connsiteY258" fmla="*/ 1977528 h 3655527"/>
                <a:gd name="connsiteX259" fmla="*/ 2772998 w 4873102"/>
                <a:gd name="connsiteY259" fmla="*/ 1906230 h 3655527"/>
                <a:gd name="connsiteX260" fmla="*/ 1439283 w 4873102"/>
                <a:gd name="connsiteY260" fmla="*/ 1906230 h 3655527"/>
                <a:gd name="connsiteX261" fmla="*/ 972822 w 4873102"/>
                <a:gd name="connsiteY261" fmla="*/ 1383319 h 3655527"/>
                <a:gd name="connsiteX262" fmla="*/ 919614 w 4873102"/>
                <a:gd name="connsiteY262" fmla="*/ 1359487 h 3655527"/>
                <a:gd name="connsiteX263" fmla="*/ 227898 w 4873102"/>
                <a:gd name="connsiteY263" fmla="*/ 1359487 h 3655527"/>
                <a:gd name="connsiteX264" fmla="*/ 143690 w 4873102"/>
                <a:gd name="connsiteY264" fmla="*/ 1275279 h 3655527"/>
                <a:gd name="connsiteX265" fmla="*/ 227898 w 4873102"/>
                <a:gd name="connsiteY265" fmla="*/ 1191071 h 3655527"/>
                <a:gd name="connsiteX266" fmla="*/ 1184701 w 4873102"/>
                <a:gd name="connsiteY266" fmla="*/ 1191071 h 3655527"/>
                <a:gd name="connsiteX267" fmla="*/ 1207555 w 4873102"/>
                <a:gd name="connsiteY267" fmla="*/ 1196660 h 3655527"/>
                <a:gd name="connsiteX268" fmla="*/ 1743451 w 4873102"/>
                <a:gd name="connsiteY268" fmla="*/ 1475617 h 3655527"/>
                <a:gd name="connsiteX269" fmla="*/ 1851577 w 4873102"/>
                <a:gd name="connsiteY269" fmla="*/ 1502073 h 3655527"/>
                <a:gd name="connsiteX270" fmla="*/ 3021525 w 4873102"/>
                <a:gd name="connsiteY270" fmla="*/ 1502073 h 3655527"/>
                <a:gd name="connsiteX271" fmla="*/ 3129641 w 4873102"/>
                <a:gd name="connsiteY271" fmla="*/ 1475617 h 3655527"/>
                <a:gd name="connsiteX272" fmla="*/ 3665557 w 4873102"/>
                <a:gd name="connsiteY272" fmla="*/ 1196641 h 3655527"/>
                <a:gd name="connsiteX273" fmla="*/ 3688401 w 4873102"/>
                <a:gd name="connsiteY273" fmla="*/ 1191061 h 3655527"/>
                <a:gd name="connsiteX274" fmla="*/ 4645205 w 4873102"/>
                <a:gd name="connsiteY274" fmla="*/ 1191061 h 3655527"/>
                <a:gd name="connsiteX275" fmla="*/ 4729403 w 4873102"/>
                <a:gd name="connsiteY275" fmla="*/ 1275269 h 3655527"/>
                <a:gd name="connsiteX276" fmla="*/ 4645214 w 4873102"/>
                <a:gd name="connsiteY276" fmla="*/ 1359496 h 36555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</a:cxnLst>
              <a:rect l="l" t="t" r="r" b="b"/>
              <a:pathLst>
                <a:path w="4873102" h="3655527">
                  <a:moveTo>
                    <a:pt x="4645214" y="1048483"/>
                  </a:moveTo>
                  <a:lnTo>
                    <a:pt x="4440217" y="1048483"/>
                  </a:lnTo>
                  <a:lnTo>
                    <a:pt x="4440217" y="860608"/>
                  </a:lnTo>
                  <a:cubicBezTo>
                    <a:pt x="4440217" y="770515"/>
                    <a:pt x="4366923" y="697211"/>
                    <a:pt x="4276821" y="697211"/>
                  </a:cubicBezTo>
                  <a:lnTo>
                    <a:pt x="4229203" y="697211"/>
                  </a:lnTo>
                  <a:lnTo>
                    <a:pt x="4229203" y="564121"/>
                  </a:lnTo>
                  <a:lnTo>
                    <a:pt x="4647895" y="564121"/>
                  </a:lnTo>
                  <a:cubicBezTo>
                    <a:pt x="4772077" y="564121"/>
                    <a:pt x="4873102" y="463096"/>
                    <a:pt x="4873102" y="338914"/>
                  </a:cubicBezTo>
                  <a:cubicBezTo>
                    <a:pt x="4873102" y="214731"/>
                    <a:pt x="4772068" y="113706"/>
                    <a:pt x="4647895" y="113706"/>
                  </a:cubicBezTo>
                  <a:lnTo>
                    <a:pt x="4229203" y="113706"/>
                  </a:lnTo>
                  <a:lnTo>
                    <a:pt x="4229203" y="71298"/>
                  </a:lnTo>
                  <a:cubicBezTo>
                    <a:pt x="4229203" y="31923"/>
                    <a:pt x="4197290" y="0"/>
                    <a:pt x="4157905" y="0"/>
                  </a:cubicBezTo>
                  <a:cubicBezTo>
                    <a:pt x="4118519" y="0"/>
                    <a:pt x="4086606" y="31923"/>
                    <a:pt x="4086606" y="71298"/>
                  </a:cubicBezTo>
                  <a:lnTo>
                    <a:pt x="4086606" y="113706"/>
                  </a:lnTo>
                  <a:lnTo>
                    <a:pt x="3667915" y="113706"/>
                  </a:lnTo>
                  <a:cubicBezTo>
                    <a:pt x="3543732" y="113706"/>
                    <a:pt x="3442707" y="214731"/>
                    <a:pt x="3442707" y="338914"/>
                  </a:cubicBezTo>
                  <a:cubicBezTo>
                    <a:pt x="3442707" y="463096"/>
                    <a:pt x="3543742" y="564121"/>
                    <a:pt x="3667915" y="564121"/>
                  </a:cubicBezTo>
                  <a:lnTo>
                    <a:pt x="4086606" y="564121"/>
                  </a:lnTo>
                  <a:lnTo>
                    <a:pt x="4086606" y="697211"/>
                  </a:lnTo>
                  <a:lnTo>
                    <a:pt x="4038998" y="697211"/>
                  </a:lnTo>
                  <a:cubicBezTo>
                    <a:pt x="3948896" y="697211"/>
                    <a:pt x="3875602" y="770506"/>
                    <a:pt x="3875602" y="860608"/>
                  </a:cubicBezTo>
                  <a:lnTo>
                    <a:pt x="3875602" y="1048483"/>
                  </a:lnTo>
                  <a:lnTo>
                    <a:pt x="3688401" y="1048483"/>
                  </a:lnTo>
                  <a:cubicBezTo>
                    <a:pt x="3657638" y="1048483"/>
                    <a:pt x="3626961" y="1055994"/>
                    <a:pt x="3599706" y="1070187"/>
                  </a:cubicBezTo>
                  <a:lnTo>
                    <a:pt x="3568249" y="1086557"/>
                  </a:lnTo>
                  <a:lnTo>
                    <a:pt x="3291612" y="809919"/>
                  </a:lnTo>
                  <a:cubicBezTo>
                    <a:pt x="3228584" y="746892"/>
                    <a:pt x="3144785" y="712184"/>
                    <a:pt x="3055653" y="712184"/>
                  </a:cubicBezTo>
                  <a:lnTo>
                    <a:pt x="2242520" y="712184"/>
                  </a:lnTo>
                  <a:cubicBezTo>
                    <a:pt x="2203144" y="712184"/>
                    <a:pt x="2171222" y="744107"/>
                    <a:pt x="2171222" y="783482"/>
                  </a:cubicBezTo>
                  <a:cubicBezTo>
                    <a:pt x="2171222" y="822858"/>
                    <a:pt x="2203144" y="854780"/>
                    <a:pt x="2242520" y="854780"/>
                  </a:cubicBezTo>
                  <a:lnTo>
                    <a:pt x="3055653" y="854780"/>
                  </a:lnTo>
                  <a:cubicBezTo>
                    <a:pt x="3106693" y="854780"/>
                    <a:pt x="3154681" y="874658"/>
                    <a:pt x="3190777" y="910754"/>
                  </a:cubicBezTo>
                  <a:lnTo>
                    <a:pt x="3435625" y="1155602"/>
                  </a:lnTo>
                  <a:lnTo>
                    <a:pt x="3063800" y="1349153"/>
                  </a:lnTo>
                  <a:cubicBezTo>
                    <a:pt x="3050795" y="1355912"/>
                    <a:pt x="3036184" y="1359496"/>
                    <a:pt x="3021525" y="1359496"/>
                  </a:cubicBezTo>
                  <a:lnTo>
                    <a:pt x="1851587" y="1359496"/>
                  </a:lnTo>
                  <a:cubicBezTo>
                    <a:pt x="1836928" y="1359496"/>
                    <a:pt x="1822307" y="1355922"/>
                    <a:pt x="1809312" y="1349153"/>
                  </a:cubicBezTo>
                  <a:lnTo>
                    <a:pt x="1437487" y="1155602"/>
                  </a:lnTo>
                  <a:lnTo>
                    <a:pt x="1682334" y="910754"/>
                  </a:lnTo>
                  <a:cubicBezTo>
                    <a:pt x="1718421" y="874658"/>
                    <a:pt x="1766409" y="854780"/>
                    <a:pt x="1817459" y="854780"/>
                  </a:cubicBezTo>
                  <a:lnTo>
                    <a:pt x="1938666" y="854780"/>
                  </a:lnTo>
                  <a:cubicBezTo>
                    <a:pt x="1978042" y="854780"/>
                    <a:pt x="2009964" y="822858"/>
                    <a:pt x="2009964" y="783482"/>
                  </a:cubicBezTo>
                  <a:cubicBezTo>
                    <a:pt x="2009964" y="744107"/>
                    <a:pt x="1978042" y="712184"/>
                    <a:pt x="1938666" y="712184"/>
                  </a:cubicBezTo>
                  <a:lnTo>
                    <a:pt x="1817459" y="712184"/>
                  </a:lnTo>
                  <a:cubicBezTo>
                    <a:pt x="1728317" y="712184"/>
                    <a:pt x="1644518" y="746892"/>
                    <a:pt x="1581500" y="809919"/>
                  </a:cubicBezTo>
                  <a:lnTo>
                    <a:pt x="1304863" y="1086557"/>
                  </a:lnTo>
                  <a:lnTo>
                    <a:pt x="1273406" y="1070187"/>
                  </a:lnTo>
                  <a:cubicBezTo>
                    <a:pt x="1246132" y="1055984"/>
                    <a:pt x="1215464" y="1048483"/>
                    <a:pt x="1184701" y="1048483"/>
                  </a:cubicBezTo>
                  <a:lnTo>
                    <a:pt x="997501" y="1048483"/>
                  </a:lnTo>
                  <a:lnTo>
                    <a:pt x="997501" y="860608"/>
                  </a:lnTo>
                  <a:cubicBezTo>
                    <a:pt x="997501" y="770515"/>
                    <a:pt x="924206" y="697211"/>
                    <a:pt x="834104" y="697211"/>
                  </a:cubicBezTo>
                  <a:lnTo>
                    <a:pt x="786496" y="697211"/>
                  </a:lnTo>
                  <a:lnTo>
                    <a:pt x="786496" y="564121"/>
                  </a:lnTo>
                  <a:lnTo>
                    <a:pt x="1205188" y="564121"/>
                  </a:lnTo>
                  <a:cubicBezTo>
                    <a:pt x="1329370" y="564121"/>
                    <a:pt x="1430395" y="463096"/>
                    <a:pt x="1430395" y="338914"/>
                  </a:cubicBezTo>
                  <a:cubicBezTo>
                    <a:pt x="1430395" y="214731"/>
                    <a:pt x="1329370" y="113706"/>
                    <a:pt x="1205188" y="113706"/>
                  </a:cubicBezTo>
                  <a:lnTo>
                    <a:pt x="786496" y="113706"/>
                  </a:lnTo>
                  <a:lnTo>
                    <a:pt x="786496" y="71298"/>
                  </a:lnTo>
                  <a:cubicBezTo>
                    <a:pt x="786496" y="31923"/>
                    <a:pt x="754573" y="0"/>
                    <a:pt x="715198" y="0"/>
                  </a:cubicBezTo>
                  <a:cubicBezTo>
                    <a:pt x="675822" y="0"/>
                    <a:pt x="643899" y="31923"/>
                    <a:pt x="643899" y="71298"/>
                  </a:cubicBezTo>
                  <a:lnTo>
                    <a:pt x="643899" y="113706"/>
                  </a:lnTo>
                  <a:lnTo>
                    <a:pt x="225207" y="113706"/>
                  </a:lnTo>
                  <a:cubicBezTo>
                    <a:pt x="101025" y="113706"/>
                    <a:pt x="0" y="214741"/>
                    <a:pt x="0" y="338923"/>
                  </a:cubicBezTo>
                  <a:cubicBezTo>
                    <a:pt x="0" y="463106"/>
                    <a:pt x="101025" y="564131"/>
                    <a:pt x="225207" y="564131"/>
                  </a:cubicBezTo>
                  <a:lnTo>
                    <a:pt x="643899" y="564131"/>
                  </a:lnTo>
                  <a:lnTo>
                    <a:pt x="643899" y="697221"/>
                  </a:lnTo>
                  <a:lnTo>
                    <a:pt x="596291" y="697221"/>
                  </a:lnTo>
                  <a:cubicBezTo>
                    <a:pt x="506189" y="697221"/>
                    <a:pt x="432894" y="770515"/>
                    <a:pt x="432894" y="860617"/>
                  </a:cubicBezTo>
                  <a:lnTo>
                    <a:pt x="432894" y="1048493"/>
                  </a:lnTo>
                  <a:lnTo>
                    <a:pt x="227898" y="1048493"/>
                  </a:lnTo>
                  <a:cubicBezTo>
                    <a:pt x="102831" y="1048493"/>
                    <a:pt x="1093" y="1150240"/>
                    <a:pt x="1093" y="1275298"/>
                  </a:cubicBezTo>
                  <a:cubicBezTo>
                    <a:pt x="1093" y="1400355"/>
                    <a:pt x="102841" y="1502102"/>
                    <a:pt x="227898" y="1502102"/>
                  </a:cubicBezTo>
                  <a:lnTo>
                    <a:pt x="686203" y="1502102"/>
                  </a:lnTo>
                  <a:lnTo>
                    <a:pt x="349495" y="2007797"/>
                  </a:lnTo>
                  <a:cubicBezTo>
                    <a:pt x="332953" y="2032646"/>
                    <a:pt x="325339" y="2062706"/>
                    <a:pt x="328067" y="2092423"/>
                  </a:cubicBezTo>
                  <a:lnTo>
                    <a:pt x="349780" y="2329352"/>
                  </a:lnTo>
                  <a:cubicBezTo>
                    <a:pt x="353174" y="2366351"/>
                    <a:pt x="384250" y="2394148"/>
                    <a:pt x="420698" y="2394148"/>
                  </a:cubicBezTo>
                  <a:cubicBezTo>
                    <a:pt x="422875" y="2394148"/>
                    <a:pt x="425071" y="2394053"/>
                    <a:pt x="427286" y="2393843"/>
                  </a:cubicBezTo>
                  <a:cubicBezTo>
                    <a:pt x="466500" y="2390250"/>
                    <a:pt x="495371" y="2355552"/>
                    <a:pt x="491777" y="2316338"/>
                  </a:cubicBezTo>
                  <a:lnTo>
                    <a:pt x="470445" y="2083439"/>
                  </a:lnTo>
                  <a:lnTo>
                    <a:pt x="857518" y="1502092"/>
                  </a:lnTo>
                  <a:lnTo>
                    <a:pt x="887673" y="1502092"/>
                  </a:lnTo>
                  <a:lnTo>
                    <a:pt x="1104828" y="1745524"/>
                  </a:lnTo>
                  <a:lnTo>
                    <a:pt x="680851" y="2150764"/>
                  </a:lnTo>
                  <a:cubicBezTo>
                    <a:pt x="655107" y="2175376"/>
                    <a:pt x="640334" y="2209923"/>
                    <a:pt x="640334" y="2245534"/>
                  </a:cubicBezTo>
                  <a:lnTo>
                    <a:pt x="640334" y="3082727"/>
                  </a:lnTo>
                  <a:cubicBezTo>
                    <a:pt x="640334" y="3104278"/>
                    <a:pt x="622804" y="3121808"/>
                    <a:pt x="601253" y="3121808"/>
                  </a:cubicBezTo>
                  <a:cubicBezTo>
                    <a:pt x="580929" y="3121808"/>
                    <a:pt x="564207" y="3106541"/>
                    <a:pt x="562344" y="3086292"/>
                  </a:cubicBezTo>
                  <a:lnTo>
                    <a:pt x="519517" y="2619003"/>
                  </a:lnTo>
                  <a:cubicBezTo>
                    <a:pt x="515924" y="2579789"/>
                    <a:pt x="481330" y="2550918"/>
                    <a:pt x="442011" y="2554512"/>
                  </a:cubicBezTo>
                  <a:cubicBezTo>
                    <a:pt x="402797" y="2558105"/>
                    <a:pt x="373926" y="2592804"/>
                    <a:pt x="377519" y="2632018"/>
                  </a:cubicBezTo>
                  <a:lnTo>
                    <a:pt x="420346" y="3099306"/>
                  </a:lnTo>
                  <a:cubicBezTo>
                    <a:pt x="428978" y="3193420"/>
                    <a:pt x="506750" y="3264405"/>
                    <a:pt x="601253" y="3264405"/>
                  </a:cubicBezTo>
                  <a:cubicBezTo>
                    <a:pt x="701432" y="3264405"/>
                    <a:pt x="782931" y="3182906"/>
                    <a:pt x="782931" y="3082727"/>
                  </a:cubicBezTo>
                  <a:lnTo>
                    <a:pt x="782931" y="2250448"/>
                  </a:lnTo>
                  <a:lnTo>
                    <a:pt x="1199807" y="1851996"/>
                  </a:lnTo>
                  <a:lnTo>
                    <a:pt x="1554454" y="2249564"/>
                  </a:lnTo>
                  <a:cubicBezTo>
                    <a:pt x="1598830" y="2299311"/>
                    <a:pt x="1662523" y="2327840"/>
                    <a:pt x="1729192" y="2327840"/>
                  </a:cubicBezTo>
                  <a:lnTo>
                    <a:pt x="2152570" y="2327840"/>
                  </a:lnTo>
                  <a:lnTo>
                    <a:pt x="2152570" y="2600903"/>
                  </a:lnTo>
                  <a:cubicBezTo>
                    <a:pt x="2137217" y="2609678"/>
                    <a:pt x="2122321" y="2619146"/>
                    <a:pt x="2107918" y="2629280"/>
                  </a:cubicBezTo>
                  <a:lnTo>
                    <a:pt x="1726587" y="2629280"/>
                  </a:lnTo>
                  <a:cubicBezTo>
                    <a:pt x="1639850" y="2629280"/>
                    <a:pt x="1569293" y="2699837"/>
                    <a:pt x="1569293" y="2786573"/>
                  </a:cubicBezTo>
                  <a:lnTo>
                    <a:pt x="1569293" y="2870544"/>
                  </a:lnTo>
                  <a:lnTo>
                    <a:pt x="1435700" y="2870544"/>
                  </a:lnTo>
                  <a:lnTo>
                    <a:pt x="1435700" y="2852957"/>
                  </a:lnTo>
                  <a:cubicBezTo>
                    <a:pt x="1435700" y="2772732"/>
                    <a:pt x="1370428" y="2707451"/>
                    <a:pt x="1290194" y="2707451"/>
                  </a:cubicBezTo>
                  <a:lnTo>
                    <a:pt x="1162418" y="2707451"/>
                  </a:lnTo>
                  <a:cubicBezTo>
                    <a:pt x="1082193" y="2707451"/>
                    <a:pt x="1016913" y="2772722"/>
                    <a:pt x="1016913" y="2852957"/>
                  </a:cubicBezTo>
                  <a:lnTo>
                    <a:pt x="1016913" y="3329257"/>
                  </a:lnTo>
                  <a:cubicBezTo>
                    <a:pt x="1016913" y="3409482"/>
                    <a:pt x="1082184" y="3474763"/>
                    <a:pt x="1162418" y="3474763"/>
                  </a:cubicBezTo>
                  <a:lnTo>
                    <a:pt x="1290194" y="3474763"/>
                  </a:lnTo>
                  <a:cubicBezTo>
                    <a:pt x="1370419" y="3474763"/>
                    <a:pt x="1435700" y="3409492"/>
                    <a:pt x="1435700" y="3329257"/>
                  </a:cubicBezTo>
                  <a:lnTo>
                    <a:pt x="1435700" y="3311670"/>
                  </a:lnTo>
                  <a:lnTo>
                    <a:pt x="1569293" y="3311670"/>
                  </a:lnTo>
                  <a:lnTo>
                    <a:pt x="1569293" y="3395641"/>
                  </a:lnTo>
                  <a:cubicBezTo>
                    <a:pt x="1569293" y="3482377"/>
                    <a:pt x="1639850" y="3552934"/>
                    <a:pt x="1726587" y="3552934"/>
                  </a:cubicBezTo>
                  <a:lnTo>
                    <a:pt x="2107918" y="3552934"/>
                  </a:lnTo>
                  <a:cubicBezTo>
                    <a:pt x="2199675" y="3617483"/>
                    <a:pt x="2311347" y="3655528"/>
                    <a:pt x="2431803" y="3655528"/>
                  </a:cubicBezTo>
                  <a:cubicBezTo>
                    <a:pt x="2552259" y="3655528"/>
                    <a:pt x="2663931" y="3617473"/>
                    <a:pt x="2755687" y="3552934"/>
                  </a:cubicBezTo>
                  <a:lnTo>
                    <a:pt x="3137009" y="3552934"/>
                  </a:lnTo>
                  <a:cubicBezTo>
                    <a:pt x="3223746" y="3552934"/>
                    <a:pt x="3294312" y="3482368"/>
                    <a:pt x="3294312" y="3395641"/>
                  </a:cubicBezTo>
                  <a:lnTo>
                    <a:pt x="3294312" y="3311670"/>
                  </a:lnTo>
                  <a:lnTo>
                    <a:pt x="3427906" y="3311670"/>
                  </a:lnTo>
                  <a:lnTo>
                    <a:pt x="3427906" y="3329257"/>
                  </a:lnTo>
                  <a:cubicBezTo>
                    <a:pt x="3427906" y="3409482"/>
                    <a:pt x="3493177" y="3474763"/>
                    <a:pt x="3573411" y="3474763"/>
                  </a:cubicBezTo>
                  <a:lnTo>
                    <a:pt x="3701187" y="3474763"/>
                  </a:lnTo>
                  <a:cubicBezTo>
                    <a:pt x="3781412" y="3474763"/>
                    <a:pt x="3846692" y="3409492"/>
                    <a:pt x="3846692" y="3329257"/>
                  </a:cubicBezTo>
                  <a:lnTo>
                    <a:pt x="3846692" y="2852957"/>
                  </a:lnTo>
                  <a:cubicBezTo>
                    <a:pt x="3846692" y="2772732"/>
                    <a:pt x="3781421" y="2707451"/>
                    <a:pt x="3701187" y="2707451"/>
                  </a:cubicBezTo>
                  <a:lnTo>
                    <a:pt x="3573411" y="2707451"/>
                  </a:lnTo>
                  <a:cubicBezTo>
                    <a:pt x="3493186" y="2707451"/>
                    <a:pt x="3427906" y="2772722"/>
                    <a:pt x="3427906" y="2852957"/>
                  </a:cubicBezTo>
                  <a:lnTo>
                    <a:pt x="3427906" y="2870544"/>
                  </a:lnTo>
                  <a:lnTo>
                    <a:pt x="3294312" y="2870544"/>
                  </a:lnTo>
                  <a:lnTo>
                    <a:pt x="3294312" y="2786573"/>
                  </a:lnTo>
                  <a:cubicBezTo>
                    <a:pt x="3294312" y="2699837"/>
                    <a:pt x="3223746" y="2629280"/>
                    <a:pt x="3137009" y="2629280"/>
                  </a:cubicBezTo>
                  <a:lnTo>
                    <a:pt x="2755687" y="2629280"/>
                  </a:lnTo>
                  <a:cubicBezTo>
                    <a:pt x="2741275" y="2619146"/>
                    <a:pt x="2726378" y="2609678"/>
                    <a:pt x="2711035" y="2600903"/>
                  </a:cubicBezTo>
                  <a:lnTo>
                    <a:pt x="2711035" y="2327850"/>
                  </a:lnTo>
                  <a:lnTo>
                    <a:pt x="3143920" y="2327850"/>
                  </a:lnTo>
                  <a:cubicBezTo>
                    <a:pt x="3210589" y="2327850"/>
                    <a:pt x="3274272" y="2299321"/>
                    <a:pt x="3318648" y="2249574"/>
                  </a:cubicBezTo>
                  <a:lnTo>
                    <a:pt x="3673305" y="1852005"/>
                  </a:lnTo>
                  <a:lnTo>
                    <a:pt x="4090181" y="2250458"/>
                  </a:lnTo>
                  <a:lnTo>
                    <a:pt x="4090181" y="3082737"/>
                  </a:lnTo>
                  <a:cubicBezTo>
                    <a:pt x="4090181" y="3182915"/>
                    <a:pt x="4171679" y="3264414"/>
                    <a:pt x="4271849" y="3264414"/>
                  </a:cubicBezTo>
                  <a:cubicBezTo>
                    <a:pt x="4366352" y="3264414"/>
                    <a:pt x="4444134" y="3193439"/>
                    <a:pt x="4452756" y="3099316"/>
                  </a:cubicBezTo>
                  <a:lnTo>
                    <a:pt x="4545035" y="2092404"/>
                  </a:lnTo>
                  <a:cubicBezTo>
                    <a:pt x="4547754" y="2062696"/>
                    <a:pt x="4540139" y="2032656"/>
                    <a:pt x="4523608" y="2007797"/>
                  </a:cubicBezTo>
                  <a:lnTo>
                    <a:pt x="4186899" y="1502102"/>
                  </a:lnTo>
                  <a:lnTo>
                    <a:pt x="4645205" y="1502102"/>
                  </a:lnTo>
                  <a:cubicBezTo>
                    <a:pt x="4770262" y="1502102"/>
                    <a:pt x="4871999" y="1400355"/>
                    <a:pt x="4871999" y="1275298"/>
                  </a:cubicBezTo>
                  <a:cubicBezTo>
                    <a:pt x="4871999" y="1150240"/>
                    <a:pt x="4770271" y="1048483"/>
                    <a:pt x="4645214" y="1048483"/>
                  </a:cubicBezTo>
                  <a:close/>
                  <a:moveTo>
                    <a:pt x="4647895" y="256303"/>
                  </a:moveTo>
                  <a:cubicBezTo>
                    <a:pt x="4693450" y="256303"/>
                    <a:pt x="4730506" y="293359"/>
                    <a:pt x="4730506" y="338914"/>
                  </a:cubicBezTo>
                  <a:cubicBezTo>
                    <a:pt x="4730506" y="384469"/>
                    <a:pt x="4693450" y="421525"/>
                    <a:pt x="4647895" y="421525"/>
                  </a:cubicBezTo>
                  <a:lnTo>
                    <a:pt x="4229203" y="421525"/>
                  </a:lnTo>
                  <a:lnTo>
                    <a:pt x="4229203" y="256303"/>
                  </a:lnTo>
                  <a:close/>
                  <a:moveTo>
                    <a:pt x="3667915" y="421534"/>
                  </a:moveTo>
                  <a:cubicBezTo>
                    <a:pt x="3622360" y="421534"/>
                    <a:pt x="3585304" y="384478"/>
                    <a:pt x="3585304" y="338923"/>
                  </a:cubicBezTo>
                  <a:cubicBezTo>
                    <a:pt x="3585304" y="293369"/>
                    <a:pt x="3622360" y="256312"/>
                    <a:pt x="3667915" y="256312"/>
                  </a:cubicBezTo>
                  <a:lnTo>
                    <a:pt x="4086606" y="256312"/>
                  </a:lnTo>
                  <a:lnTo>
                    <a:pt x="4086606" y="421534"/>
                  </a:lnTo>
                  <a:close/>
                  <a:moveTo>
                    <a:pt x="1205188" y="256303"/>
                  </a:moveTo>
                  <a:cubicBezTo>
                    <a:pt x="1250742" y="256303"/>
                    <a:pt x="1287799" y="293359"/>
                    <a:pt x="1287799" y="338914"/>
                  </a:cubicBezTo>
                  <a:cubicBezTo>
                    <a:pt x="1287799" y="384469"/>
                    <a:pt x="1250742" y="421525"/>
                    <a:pt x="1205188" y="421525"/>
                  </a:cubicBezTo>
                  <a:lnTo>
                    <a:pt x="786496" y="421525"/>
                  </a:lnTo>
                  <a:lnTo>
                    <a:pt x="786496" y="256303"/>
                  </a:lnTo>
                  <a:close/>
                  <a:moveTo>
                    <a:pt x="225207" y="421534"/>
                  </a:moveTo>
                  <a:cubicBezTo>
                    <a:pt x="179653" y="421534"/>
                    <a:pt x="142596" y="384478"/>
                    <a:pt x="142596" y="338923"/>
                  </a:cubicBezTo>
                  <a:cubicBezTo>
                    <a:pt x="142596" y="293369"/>
                    <a:pt x="179653" y="256312"/>
                    <a:pt x="225207" y="256312"/>
                  </a:cubicBezTo>
                  <a:lnTo>
                    <a:pt x="643899" y="256312"/>
                  </a:lnTo>
                  <a:lnTo>
                    <a:pt x="643899" y="421534"/>
                  </a:lnTo>
                  <a:close/>
                  <a:moveTo>
                    <a:pt x="4018208" y="860608"/>
                  </a:moveTo>
                  <a:cubicBezTo>
                    <a:pt x="4018208" y="849143"/>
                    <a:pt x="4027533" y="839808"/>
                    <a:pt x="4039008" y="839808"/>
                  </a:cubicBezTo>
                  <a:lnTo>
                    <a:pt x="4276830" y="839808"/>
                  </a:lnTo>
                  <a:cubicBezTo>
                    <a:pt x="4288295" y="839808"/>
                    <a:pt x="4297630" y="849134"/>
                    <a:pt x="4297630" y="860608"/>
                  </a:cubicBezTo>
                  <a:lnTo>
                    <a:pt x="4297630" y="1048483"/>
                  </a:lnTo>
                  <a:lnTo>
                    <a:pt x="4018217" y="1048483"/>
                  </a:lnTo>
                  <a:lnTo>
                    <a:pt x="4018217" y="860608"/>
                  </a:lnTo>
                  <a:close/>
                  <a:moveTo>
                    <a:pt x="575491" y="860608"/>
                  </a:moveTo>
                  <a:cubicBezTo>
                    <a:pt x="575491" y="849143"/>
                    <a:pt x="584817" y="839808"/>
                    <a:pt x="596291" y="839808"/>
                  </a:cubicBezTo>
                  <a:lnTo>
                    <a:pt x="834113" y="839808"/>
                  </a:lnTo>
                  <a:cubicBezTo>
                    <a:pt x="845578" y="839808"/>
                    <a:pt x="854914" y="849134"/>
                    <a:pt x="854914" y="860608"/>
                  </a:cubicBezTo>
                  <a:lnTo>
                    <a:pt x="854914" y="1048483"/>
                  </a:lnTo>
                  <a:lnTo>
                    <a:pt x="575491" y="1048483"/>
                  </a:lnTo>
                  <a:close/>
                  <a:moveTo>
                    <a:pt x="1293103" y="3329267"/>
                  </a:moveTo>
                  <a:cubicBezTo>
                    <a:pt x="1293103" y="3330864"/>
                    <a:pt x="1291801" y="3332176"/>
                    <a:pt x="1290194" y="3332176"/>
                  </a:cubicBezTo>
                  <a:lnTo>
                    <a:pt x="1162418" y="3332176"/>
                  </a:lnTo>
                  <a:cubicBezTo>
                    <a:pt x="1160821" y="3332176"/>
                    <a:pt x="1159509" y="3330874"/>
                    <a:pt x="1159509" y="3329267"/>
                  </a:cubicBezTo>
                  <a:lnTo>
                    <a:pt x="1159509" y="2852966"/>
                  </a:lnTo>
                  <a:cubicBezTo>
                    <a:pt x="1159509" y="2851369"/>
                    <a:pt x="1160812" y="2850057"/>
                    <a:pt x="1162418" y="2850057"/>
                  </a:cubicBezTo>
                  <a:lnTo>
                    <a:pt x="1290194" y="2850057"/>
                  </a:lnTo>
                  <a:cubicBezTo>
                    <a:pt x="1291791" y="2850057"/>
                    <a:pt x="1293103" y="2851360"/>
                    <a:pt x="1293103" y="2852966"/>
                  </a:cubicBezTo>
                  <a:close/>
                  <a:moveTo>
                    <a:pt x="1435700" y="3169084"/>
                  </a:moveTo>
                  <a:lnTo>
                    <a:pt x="1435700" y="3013149"/>
                  </a:lnTo>
                  <a:lnTo>
                    <a:pt x="1569293" y="3013149"/>
                  </a:lnTo>
                  <a:lnTo>
                    <a:pt x="1569293" y="3169084"/>
                  </a:lnTo>
                  <a:close/>
                  <a:moveTo>
                    <a:pt x="1711890" y="3395650"/>
                  </a:moveTo>
                  <a:lnTo>
                    <a:pt x="1711890" y="2786583"/>
                  </a:lnTo>
                  <a:cubicBezTo>
                    <a:pt x="1711890" y="2778474"/>
                    <a:pt x="1718478" y="2771886"/>
                    <a:pt x="1726587" y="2771886"/>
                  </a:cubicBezTo>
                  <a:lnTo>
                    <a:pt x="1966662" y="2771886"/>
                  </a:lnTo>
                  <a:cubicBezTo>
                    <a:pt x="1904110" y="2862748"/>
                    <a:pt x="1867377" y="2972709"/>
                    <a:pt x="1867377" y="3091121"/>
                  </a:cubicBezTo>
                  <a:cubicBezTo>
                    <a:pt x="1867377" y="3209533"/>
                    <a:pt x="1904110" y="3319485"/>
                    <a:pt x="1966662" y="3410357"/>
                  </a:cubicBezTo>
                  <a:lnTo>
                    <a:pt x="1726587" y="3410357"/>
                  </a:lnTo>
                  <a:cubicBezTo>
                    <a:pt x="1718478" y="3410347"/>
                    <a:pt x="1711890" y="3403750"/>
                    <a:pt x="1711890" y="3395650"/>
                  </a:cubicBezTo>
                  <a:close/>
                  <a:moveTo>
                    <a:pt x="2009974" y="3091112"/>
                  </a:moveTo>
                  <a:cubicBezTo>
                    <a:pt x="2009974" y="2858518"/>
                    <a:pt x="2199209" y="2669283"/>
                    <a:pt x="2431803" y="2669283"/>
                  </a:cubicBezTo>
                  <a:cubicBezTo>
                    <a:pt x="2664406" y="2669283"/>
                    <a:pt x="2853631" y="2858518"/>
                    <a:pt x="2853631" y="3091112"/>
                  </a:cubicBezTo>
                  <a:cubicBezTo>
                    <a:pt x="2853631" y="3323706"/>
                    <a:pt x="2664406" y="3512941"/>
                    <a:pt x="2431803" y="3512941"/>
                  </a:cubicBezTo>
                  <a:cubicBezTo>
                    <a:pt x="2199199" y="3512950"/>
                    <a:pt x="2009974" y="3323715"/>
                    <a:pt x="2009974" y="3091112"/>
                  </a:cubicBezTo>
                  <a:close/>
                  <a:moveTo>
                    <a:pt x="3570502" y="2852966"/>
                  </a:moveTo>
                  <a:cubicBezTo>
                    <a:pt x="3570502" y="2851369"/>
                    <a:pt x="3571805" y="2850057"/>
                    <a:pt x="3573411" y="2850057"/>
                  </a:cubicBezTo>
                  <a:lnTo>
                    <a:pt x="3701187" y="2850057"/>
                  </a:lnTo>
                  <a:cubicBezTo>
                    <a:pt x="3702794" y="2850057"/>
                    <a:pt x="3704096" y="2851360"/>
                    <a:pt x="3704096" y="2852966"/>
                  </a:cubicBezTo>
                  <a:lnTo>
                    <a:pt x="3704096" y="3329267"/>
                  </a:lnTo>
                  <a:cubicBezTo>
                    <a:pt x="3704096" y="3330864"/>
                    <a:pt x="3702794" y="3332176"/>
                    <a:pt x="3701187" y="3332176"/>
                  </a:cubicBezTo>
                  <a:lnTo>
                    <a:pt x="3573411" y="3332176"/>
                  </a:lnTo>
                  <a:cubicBezTo>
                    <a:pt x="3571805" y="3332176"/>
                    <a:pt x="3570502" y="3330874"/>
                    <a:pt x="3570502" y="3329267"/>
                  </a:cubicBezTo>
                  <a:close/>
                  <a:moveTo>
                    <a:pt x="3427906" y="3013149"/>
                  </a:moveTo>
                  <a:lnTo>
                    <a:pt x="3427906" y="3169084"/>
                  </a:lnTo>
                  <a:lnTo>
                    <a:pt x="3294312" y="3169084"/>
                  </a:lnTo>
                  <a:lnTo>
                    <a:pt x="3294312" y="3013149"/>
                  </a:lnTo>
                  <a:close/>
                  <a:moveTo>
                    <a:pt x="3151715" y="2786583"/>
                  </a:moveTo>
                  <a:lnTo>
                    <a:pt x="3151715" y="3395650"/>
                  </a:lnTo>
                  <a:cubicBezTo>
                    <a:pt x="3151715" y="3403759"/>
                    <a:pt x="3145118" y="3410347"/>
                    <a:pt x="3137009" y="3410347"/>
                  </a:cubicBezTo>
                  <a:lnTo>
                    <a:pt x="2896943" y="3410347"/>
                  </a:lnTo>
                  <a:cubicBezTo>
                    <a:pt x="2959495" y="3319485"/>
                    <a:pt x="2996228" y="3209524"/>
                    <a:pt x="2996228" y="3091112"/>
                  </a:cubicBezTo>
                  <a:cubicBezTo>
                    <a:pt x="2996228" y="2972700"/>
                    <a:pt x="2959495" y="2862748"/>
                    <a:pt x="2896943" y="2771876"/>
                  </a:cubicBezTo>
                  <a:lnTo>
                    <a:pt x="3137009" y="2771876"/>
                  </a:lnTo>
                  <a:cubicBezTo>
                    <a:pt x="3145118" y="2771886"/>
                    <a:pt x="3151715" y="2778474"/>
                    <a:pt x="3151715" y="2786583"/>
                  </a:cubicBezTo>
                  <a:close/>
                  <a:moveTo>
                    <a:pt x="2568438" y="2543503"/>
                  </a:moveTo>
                  <a:cubicBezTo>
                    <a:pt x="2524662" y="2532580"/>
                    <a:pt x="2478916" y="2526686"/>
                    <a:pt x="2431803" y="2526686"/>
                  </a:cubicBezTo>
                  <a:cubicBezTo>
                    <a:pt x="2384689" y="2526686"/>
                    <a:pt x="2338944" y="2532580"/>
                    <a:pt x="2295167" y="2543503"/>
                  </a:cubicBezTo>
                  <a:lnTo>
                    <a:pt x="2295167" y="2327850"/>
                  </a:lnTo>
                  <a:lnTo>
                    <a:pt x="2568438" y="2327850"/>
                  </a:lnTo>
                  <a:close/>
                  <a:moveTo>
                    <a:pt x="4402667" y="2083439"/>
                  </a:moveTo>
                  <a:lnTo>
                    <a:pt x="4310759" y="3086301"/>
                  </a:lnTo>
                  <a:cubicBezTo>
                    <a:pt x="4308905" y="3106550"/>
                    <a:pt x="4292174" y="3121817"/>
                    <a:pt x="4271849" y="3121817"/>
                  </a:cubicBezTo>
                  <a:cubicBezTo>
                    <a:pt x="4250298" y="3121817"/>
                    <a:pt x="4232777" y="3104288"/>
                    <a:pt x="4232777" y="3082737"/>
                  </a:cubicBezTo>
                  <a:lnTo>
                    <a:pt x="4232777" y="2245543"/>
                  </a:lnTo>
                  <a:cubicBezTo>
                    <a:pt x="4232777" y="2209932"/>
                    <a:pt x="4218014" y="2175395"/>
                    <a:pt x="4192251" y="2150764"/>
                  </a:cubicBezTo>
                  <a:lnTo>
                    <a:pt x="3768274" y="1745533"/>
                  </a:lnTo>
                  <a:lnTo>
                    <a:pt x="3985429" y="1502102"/>
                  </a:lnTo>
                  <a:lnTo>
                    <a:pt x="4015574" y="1502102"/>
                  </a:lnTo>
                  <a:close/>
                  <a:moveTo>
                    <a:pt x="4645214" y="1359496"/>
                  </a:moveTo>
                  <a:lnTo>
                    <a:pt x="3953488" y="1359496"/>
                  </a:lnTo>
                  <a:cubicBezTo>
                    <a:pt x="3933163" y="1359496"/>
                    <a:pt x="3913808" y="1368166"/>
                    <a:pt x="3900280" y="1383329"/>
                  </a:cubicBezTo>
                  <a:lnTo>
                    <a:pt x="3433819" y="1906239"/>
                  </a:lnTo>
                  <a:lnTo>
                    <a:pt x="3076852" y="1906239"/>
                  </a:lnTo>
                  <a:cubicBezTo>
                    <a:pt x="3037467" y="1906239"/>
                    <a:pt x="3005554" y="1938162"/>
                    <a:pt x="3005554" y="1977538"/>
                  </a:cubicBezTo>
                  <a:cubicBezTo>
                    <a:pt x="3005554" y="2016913"/>
                    <a:pt x="3037467" y="2048836"/>
                    <a:pt x="3076852" y="2048836"/>
                  </a:cubicBezTo>
                  <a:lnTo>
                    <a:pt x="3306623" y="2048836"/>
                  </a:lnTo>
                  <a:lnTo>
                    <a:pt x="3212233" y="2154643"/>
                  </a:lnTo>
                  <a:cubicBezTo>
                    <a:pt x="3194884" y="2174093"/>
                    <a:pt x="3169987" y="2185244"/>
                    <a:pt x="3143910" y="2185244"/>
                  </a:cubicBezTo>
                  <a:lnTo>
                    <a:pt x="1729192" y="2185244"/>
                  </a:lnTo>
                  <a:cubicBezTo>
                    <a:pt x="1703125" y="2185244"/>
                    <a:pt x="1678218" y="2174093"/>
                    <a:pt x="1660859" y="2154633"/>
                  </a:cubicBezTo>
                  <a:lnTo>
                    <a:pt x="1566480" y="2048826"/>
                  </a:lnTo>
                  <a:lnTo>
                    <a:pt x="2772998" y="2048826"/>
                  </a:lnTo>
                  <a:cubicBezTo>
                    <a:pt x="2812383" y="2048826"/>
                    <a:pt x="2844296" y="2016904"/>
                    <a:pt x="2844296" y="1977528"/>
                  </a:cubicBezTo>
                  <a:cubicBezTo>
                    <a:pt x="2844296" y="1938152"/>
                    <a:pt x="2812383" y="1906230"/>
                    <a:pt x="2772998" y="1906230"/>
                  </a:cubicBezTo>
                  <a:lnTo>
                    <a:pt x="1439283" y="1906230"/>
                  </a:lnTo>
                  <a:lnTo>
                    <a:pt x="972822" y="1383319"/>
                  </a:lnTo>
                  <a:cubicBezTo>
                    <a:pt x="959294" y="1368156"/>
                    <a:pt x="939939" y="1359487"/>
                    <a:pt x="919614" y="1359487"/>
                  </a:cubicBezTo>
                  <a:lnTo>
                    <a:pt x="227898" y="1359487"/>
                  </a:lnTo>
                  <a:cubicBezTo>
                    <a:pt x="181459" y="1359487"/>
                    <a:pt x="143690" y="1321708"/>
                    <a:pt x="143690" y="1275279"/>
                  </a:cubicBezTo>
                  <a:cubicBezTo>
                    <a:pt x="143690" y="1228849"/>
                    <a:pt x="181468" y="1191071"/>
                    <a:pt x="227898" y="1191071"/>
                  </a:cubicBezTo>
                  <a:lnTo>
                    <a:pt x="1184701" y="1191071"/>
                  </a:lnTo>
                  <a:cubicBezTo>
                    <a:pt x="1192630" y="1191071"/>
                    <a:pt x="1200529" y="1193000"/>
                    <a:pt x="1207555" y="1196660"/>
                  </a:cubicBezTo>
                  <a:lnTo>
                    <a:pt x="1743451" y="1475617"/>
                  </a:lnTo>
                  <a:cubicBezTo>
                    <a:pt x="1776695" y="1492928"/>
                    <a:pt x="1814084" y="1502073"/>
                    <a:pt x="1851577" y="1502073"/>
                  </a:cubicBezTo>
                  <a:lnTo>
                    <a:pt x="3021525" y="1502073"/>
                  </a:lnTo>
                  <a:cubicBezTo>
                    <a:pt x="3059008" y="1502073"/>
                    <a:pt x="3096397" y="1492928"/>
                    <a:pt x="3129641" y="1475617"/>
                  </a:cubicBezTo>
                  <a:lnTo>
                    <a:pt x="3665557" y="1196641"/>
                  </a:lnTo>
                  <a:cubicBezTo>
                    <a:pt x="3672573" y="1192991"/>
                    <a:pt x="3680473" y="1191061"/>
                    <a:pt x="3688401" y="1191061"/>
                  </a:cubicBezTo>
                  <a:lnTo>
                    <a:pt x="4645205" y="1191061"/>
                  </a:lnTo>
                  <a:cubicBezTo>
                    <a:pt x="4691634" y="1191061"/>
                    <a:pt x="4729403" y="1228840"/>
                    <a:pt x="4729403" y="1275269"/>
                  </a:cubicBezTo>
                  <a:cubicBezTo>
                    <a:pt x="4729403" y="1321698"/>
                    <a:pt x="4691634" y="1359496"/>
                    <a:pt x="4645214" y="1359496"/>
                  </a:cubicBezTo>
                  <a:close/>
                </a:path>
              </a:pathLst>
            </a:custGeom>
            <a:grpFill/>
            <a:ln w="950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342905"/>
              <a:endParaRPr lang="ru-RU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0" name="Freeform: Shape 39">
              <a:extLst>
                <a:ext uri="{FF2B5EF4-FFF2-40B4-BE49-F238E27FC236}">
                  <a16:creationId xmlns:a16="http://schemas.microsoft.com/office/drawing/2014/main" id="{D0842170-4C16-4069-BE95-E7B7188CE235}"/>
                </a:ext>
              </a:extLst>
            </p:cNvPr>
            <p:cNvSpPr/>
            <p:nvPr/>
          </p:nvSpPr>
          <p:spPr>
            <a:xfrm>
              <a:off x="6434057" y="4762098"/>
              <a:ext cx="558464" cy="558464"/>
            </a:xfrm>
            <a:custGeom>
              <a:avLst/>
              <a:gdLst>
                <a:gd name="connsiteX0" fmla="*/ 279232 w 558464"/>
                <a:gd name="connsiteY0" fmla="*/ 0 h 558464"/>
                <a:gd name="connsiteX1" fmla="*/ 0 w 558464"/>
                <a:gd name="connsiteY1" fmla="*/ 279233 h 558464"/>
                <a:gd name="connsiteX2" fmla="*/ 279232 w 558464"/>
                <a:gd name="connsiteY2" fmla="*/ 558465 h 558464"/>
                <a:gd name="connsiteX3" fmla="*/ 558465 w 558464"/>
                <a:gd name="connsiteY3" fmla="*/ 279233 h 558464"/>
                <a:gd name="connsiteX4" fmla="*/ 279232 w 558464"/>
                <a:gd name="connsiteY4" fmla="*/ 0 h 558464"/>
                <a:gd name="connsiteX5" fmla="*/ 279232 w 558464"/>
                <a:gd name="connsiteY5" fmla="*/ 415878 h 558464"/>
                <a:gd name="connsiteX6" fmla="*/ 142596 w 558464"/>
                <a:gd name="connsiteY6" fmla="*/ 279242 h 558464"/>
                <a:gd name="connsiteX7" fmla="*/ 279232 w 558464"/>
                <a:gd name="connsiteY7" fmla="*/ 142606 h 558464"/>
                <a:gd name="connsiteX8" fmla="*/ 415868 w 558464"/>
                <a:gd name="connsiteY8" fmla="*/ 279242 h 558464"/>
                <a:gd name="connsiteX9" fmla="*/ 279232 w 558464"/>
                <a:gd name="connsiteY9" fmla="*/ 415878 h 5584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58464" h="558464">
                  <a:moveTo>
                    <a:pt x="279232" y="0"/>
                  </a:moveTo>
                  <a:cubicBezTo>
                    <a:pt x="125266" y="0"/>
                    <a:pt x="0" y="125266"/>
                    <a:pt x="0" y="279233"/>
                  </a:cubicBezTo>
                  <a:cubicBezTo>
                    <a:pt x="0" y="433199"/>
                    <a:pt x="125266" y="558465"/>
                    <a:pt x="279232" y="558465"/>
                  </a:cubicBezTo>
                  <a:cubicBezTo>
                    <a:pt x="433199" y="558465"/>
                    <a:pt x="558465" y="433199"/>
                    <a:pt x="558465" y="279233"/>
                  </a:cubicBezTo>
                  <a:cubicBezTo>
                    <a:pt x="558465" y="125266"/>
                    <a:pt x="433199" y="0"/>
                    <a:pt x="279232" y="0"/>
                  </a:cubicBezTo>
                  <a:close/>
                  <a:moveTo>
                    <a:pt x="279232" y="415878"/>
                  </a:moveTo>
                  <a:cubicBezTo>
                    <a:pt x="203894" y="415878"/>
                    <a:pt x="142596" y="354581"/>
                    <a:pt x="142596" y="279242"/>
                  </a:cubicBezTo>
                  <a:cubicBezTo>
                    <a:pt x="142596" y="203904"/>
                    <a:pt x="203894" y="142606"/>
                    <a:pt x="279232" y="142606"/>
                  </a:cubicBezTo>
                  <a:cubicBezTo>
                    <a:pt x="354580" y="142606"/>
                    <a:pt x="415868" y="203904"/>
                    <a:pt x="415868" y="279242"/>
                  </a:cubicBezTo>
                  <a:cubicBezTo>
                    <a:pt x="415868" y="354581"/>
                    <a:pt x="354571" y="415878"/>
                    <a:pt x="279232" y="415878"/>
                  </a:cubicBezTo>
                  <a:close/>
                </a:path>
              </a:pathLst>
            </a:custGeom>
            <a:grpFill/>
            <a:ln w="950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342905"/>
              <a:endParaRPr lang="ru-RU">
                <a:solidFill>
                  <a:prstClr val="black"/>
                </a:solidFill>
                <a:latin typeface="Calibri" panose="020F0502020204030204"/>
              </a:endParaRPr>
            </a:p>
          </p:txBody>
        </p:sp>
      </p:grpSp>
      <p:grpSp>
        <p:nvGrpSpPr>
          <p:cNvPr id="41" name="Graphic 169">
            <a:extLst>
              <a:ext uri="{FF2B5EF4-FFF2-40B4-BE49-F238E27FC236}">
                <a16:creationId xmlns:a16="http://schemas.microsoft.com/office/drawing/2014/main" id="{0F74E29B-4C6B-4D7F-ABD8-84BAC87DE19A}"/>
              </a:ext>
            </a:extLst>
          </p:cNvPr>
          <p:cNvGrpSpPr/>
          <p:nvPr/>
        </p:nvGrpSpPr>
        <p:grpSpPr>
          <a:xfrm>
            <a:off x="970008" y="4343700"/>
            <a:ext cx="249649" cy="249646"/>
            <a:chOff x="4433836" y="1493836"/>
            <a:chExt cx="4572050" cy="4572000"/>
          </a:xfrm>
          <a:solidFill>
            <a:srgbClr val="00B050"/>
          </a:solidFill>
        </p:grpSpPr>
        <p:sp>
          <p:nvSpPr>
            <p:cNvPr id="42" name="Freeform: Shape 41">
              <a:extLst>
                <a:ext uri="{FF2B5EF4-FFF2-40B4-BE49-F238E27FC236}">
                  <a16:creationId xmlns:a16="http://schemas.microsoft.com/office/drawing/2014/main" id="{EF352D6A-A2DE-4B33-A6A0-EC0FD3AB3899}"/>
                </a:ext>
              </a:extLst>
            </p:cNvPr>
            <p:cNvSpPr/>
            <p:nvPr/>
          </p:nvSpPr>
          <p:spPr>
            <a:xfrm>
              <a:off x="7329487" y="4389436"/>
              <a:ext cx="1676400" cy="1676400"/>
            </a:xfrm>
            <a:custGeom>
              <a:avLst/>
              <a:gdLst>
                <a:gd name="connsiteX0" fmla="*/ 1600200 w 1676400"/>
                <a:gd name="connsiteY0" fmla="*/ 1676400 h 1676400"/>
                <a:gd name="connsiteX1" fmla="*/ 76200 w 1676400"/>
                <a:gd name="connsiteY1" fmla="*/ 1676400 h 1676400"/>
                <a:gd name="connsiteX2" fmla="*/ 0 w 1676400"/>
                <a:gd name="connsiteY2" fmla="*/ 1600204 h 1676400"/>
                <a:gd name="connsiteX3" fmla="*/ 0 w 1676400"/>
                <a:gd name="connsiteY3" fmla="*/ 1600200 h 1676400"/>
                <a:gd name="connsiteX4" fmla="*/ 0 w 1676400"/>
                <a:gd name="connsiteY4" fmla="*/ 1371600 h 1676400"/>
                <a:gd name="connsiteX5" fmla="*/ 152400 w 1676400"/>
                <a:gd name="connsiteY5" fmla="*/ 1371600 h 1676400"/>
                <a:gd name="connsiteX6" fmla="*/ 152400 w 1676400"/>
                <a:gd name="connsiteY6" fmla="*/ 1524000 h 1676400"/>
                <a:gd name="connsiteX7" fmla="*/ 1524000 w 1676400"/>
                <a:gd name="connsiteY7" fmla="*/ 1524000 h 1676400"/>
                <a:gd name="connsiteX8" fmla="*/ 1524000 w 1676400"/>
                <a:gd name="connsiteY8" fmla="*/ 152400 h 1676400"/>
                <a:gd name="connsiteX9" fmla="*/ 304800 w 1676400"/>
                <a:gd name="connsiteY9" fmla="*/ 152400 h 1676400"/>
                <a:gd name="connsiteX10" fmla="*/ 304800 w 1676400"/>
                <a:gd name="connsiteY10" fmla="*/ 0 h 1676400"/>
                <a:gd name="connsiteX11" fmla="*/ 1600200 w 1676400"/>
                <a:gd name="connsiteY11" fmla="*/ 0 h 1676400"/>
                <a:gd name="connsiteX12" fmla="*/ 1676400 w 1676400"/>
                <a:gd name="connsiteY12" fmla="*/ 76196 h 1676400"/>
                <a:gd name="connsiteX13" fmla="*/ 1676400 w 1676400"/>
                <a:gd name="connsiteY13" fmla="*/ 76200 h 1676400"/>
                <a:gd name="connsiteX14" fmla="*/ 1676400 w 1676400"/>
                <a:gd name="connsiteY14" fmla="*/ 1600200 h 1676400"/>
                <a:gd name="connsiteX15" fmla="*/ 1600204 w 1676400"/>
                <a:gd name="connsiteY15" fmla="*/ 1676400 h 1676400"/>
                <a:gd name="connsiteX16" fmla="*/ 1600200 w 1676400"/>
                <a:gd name="connsiteY16" fmla="*/ 1676400 h 1676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676400" h="1676400">
                  <a:moveTo>
                    <a:pt x="1600200" y="1676400"/>
                  </a:moveTo>
                  <a:lnTo>
                    <a:pt x="76200" y="1676400"/>
                  </a:lnTo>
                  <a:cubicBezTo>
                    <a:pt x="34117" y="1676401"/>
                    <a:pt x="1" y="1642287"/>
                    <a:pt x="0" y="1600204"/>
                  </a:cubicBezTo>
                  <a:cubicBezTo>
                    <a:pt x="0" y="1600203"/>
                    <a:pt x="0" y="1600202"/>
                    <a:pt x="0" y="1600200"/>
                  </a:cubicBezTo>
                  <a:lnTo>
                    <a:pt x="0" y="1371600"/>
                  </a:lnTo>
                  <a:lnTo>
                    <a:pt x="152400" y="1371600"/>
                  </a:lnTo>
                  <a:lnTo>
                    <a:pt x="152400" y="1524000"/>
                  </a:lnTo>
                  <a:lnTo>
                    <a:pt x="1524000" y="1524000"/>
                  </a:lnTo>
                  <a:lnTo>
                    <a:pt x="1524000" y="152400"/>
                  </a:lnTo>
                  <a:lnTo>
                    <a:pt x="304800" y="152400"/>
                  </a:lnTo>
                  <a:lnTo>
                    <a:pt x="304800" y="0"/>
                  </a:lnTo>
                  <a:lnTo>
                    <a:pt x="1600200" y="0"/>
                  </a:lnTo>
                  <a:cubicBezTo>
                    <a:pt x="1642283" y="-1"/>
                    <a:pt x="1676399" y="34113"/>
                    <a:pt x="1676400" y="76196"/>
                  </a:cubicBezTo>
                  <a:cubicBezTo>
                    <a:pt x="1676400" y="76197"/>
                    <a:pt x="1676400" y="76199"/>
                    <a:pt x="1676400" y="76200"/>
                  </a:cubicBezTo>
                  <a:lnTo>
                    <a:pt x="1676400" y="1600200"/>
                  </a:lnTo>
                  <a:cubicBezTo>
                    <a:pt x="1676401" y="1642283"/>
                    <a:pt x="1642287" y="1676399"/>
                    <a:pt x="1600204" y="1676400"/>
                  </a:cubicBezTo>
                  <a:cubicBezTo>
                    <a:pt x="1600203" y="1676400"/>
                    <a:pt x="1600202" y="1676400"/>
                    <a:pt x="1600200" y="167640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342905"/>
              <a:endParaRPr lang="ru-RU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3" name="Freeform: Shape 42">
              <a:extLst>
                <a:ext uri="{FF2B5EF4-FFF2-40B4-BE49-F238E27FC236}">
                  <a16:creationId xmlns:a16="http://schemas.microsoft.com/office/drawing/2014/main" id="{C99E4A3F-18D5-4512-8C16-C2160632955C}"/>
                </a:ext>
              </a:extLst>
            </p:cNvPr>
            <p:cNvSpPr/>
            <p:nvPr/>
          </p:nvSpPr>
          <p:spPr>
            <a:xfrm rot="-1839113">
              <a:off x="7469512" y="2205034"/>
              <a:ext cx="177149" cy="152401"/>
            </a:xfrm>
            <a:custGeom>
              <a:avLst/>
              <a:gdLst>
                <a:gd name="connsiteX0" fmla="*/ 0 w 177149"/>
                <a:gd name="connsiteY0" fmla="*/ 0 h 152401"/>
                <a:gd name="connsiteX1" fmla="*/ 177149 w 177149"/>
                <a:gd name="connsiteY1" fmla="*/ 0 h 152401"/>
                <a:gd name="connsiteX2" fmla="*/ 177149 w 177149"/>
                <a:gd name="connsiteY2" fmla="*/ 152402 h 152401"/>
                <a:gd name="connsiteX3" fmla="*/ 0 w 177149"/>
                <a:gd name="connsiteY3" fmla="*/ 152402 h 1524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7149" h="152401">
                  <a:moveTo>
                    <a:pt x="0" y="0"/>
                  </a:moveTo>
                  <a:lnTo>
                    <a:pt x="177149" y="0"/>
                  </a:lnTo>
                  <a:lnTo>
                    <a:pt x="177149" y="152402"/>
                  </a:lnTo>
                  <a:lnTo>
                    <a:pt x="0" y="152402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342905"/>
              <a:endParaRPr lang="ru-RU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4" name="Freeform: Shape 43">
              <a:extLst>
                <a:ext uri="{FF2B5EF4-FFF2-40B4-BE49-F238E27FC236}">
                  <a16:creationId xmlns:a16="http://schemas.microsoft.com/office/drawing/2014/main" id="{4AE89135-88D1-45DA-8813-0D47E24E580B}"/>
                </a:ext>
              </a:extLst>
            </p:cNvPr>
            <p:cNvSpPr/>
            <p:nvPr/>
          </p:nvSpPr>
          <p:spPr>
            <a:xfrm>
              <a:off x="4433836" y="1493836"/>
              <a:ext cx="4038650" cy="4114800"/>
            </a:xfrm>
            <a:custGeom>
              <a:avLst/>
              <a:gdLst>
                <a:gd name="connsiteX0" fmla="*/ 3657650 w 4038650"/>
                <a:gd name="connsiteY0" fmla="*/ 3352800 h 4114800"/>
                <a:gd name="connsiteX1" fmla="*/ 3276650 w 4038650"/>
                <a:gd name="connsiteY1" fmla="*/ 3352800 h 4114800"/>
                <a:gd name="connsiteX2" fmla="*/ 3048050 w 4038650"/>
                <a:gd name="connsiteY2" fmla="*/ 3124200 h 4114800"/>
                <a:gd name="connsiteX3" fmla="*/ 3048050 w 4038650"/>
                <a:gd name="connsiteY3" fmla="*/ 2766948 h 4114800"/>
                <a:gd name="connsiteX4" fmla="*/ 3124250 w 4038650"/>
                <a:gd name="connsiteY4" fmla="*/ 2514600 h 4114800"/>
                <a:gd name="connsiteX5" fmla="*/ 3124250 w 4038650"/>
                <a:gd name="connsiteY5" fmla="*/ 1760014 h 4114800"/>
                <a:gd name="connsiteX6" fmla="*/ 3773788 w 4038650"/>
                <a:gd name="connsiteY6" fmla="*/ 1360298 h 4114800"/>
                <a:gd name="connsiteX7" fmla="*/ 3810050 w 4038650"/>
                <a:gd name="connsiteY7" fmla="*/ 1295400 h 4114800"/>
                <a:gd name="connsiteX8" fmla="*/ 3810050 w 4038650"/>
                <a:gd name="connsiteY8" fmla="*/ 381000 h 4114800"/>
                <a:gd name="connsiteX9" fmla="*/ 3787731 w 4038650"/>
                <a:gd name="connsiteY9" fmla="*/ 327120 h 4114800"/>
                <a:gd name="connsiteX10" fmla="*/ 3482931 w 4038650"/>
                <a:gd name="connsiteY10" fmla="*/ 22320 h 4114800"/>
                <a:gd name="connsiteX11" fmla="*/ 3482853 w 4038650"/>
                <a:gd name="connsiteY11" fmla="*/ 22397 h 4114800"/>
                <a:gd name="connsiteX12" fmla="*/ 3429050 w 4038650"/>
                <a:gd name="connsiteY12" fmla="*/ 0 h 4114800"/>
                <a:gd name="connsiteX13" fmla="*/ 2057450 w 4038650"/>
                <a:gd name="connsiteY13" fmla="*/ 0 h 4114800"/>
                <a:gd name="connsiteX14" fmla="*/ 2017513 w 4038650"/>
                <a:gd name="connsiteY14" fmla="*/ 11302 h 4114800"/>
                <a:gd name="connsiteX15" fmla="*/ 36313 w 4038650"/>
                <a:gd name="connsiteY15" fmla="*/ 1230502 h 4114800"/>
                <a:gd name="connsiteX16" fmla="*/ 11192 w 4038650"/>
                <a:gd name="connsiteY16" fmla="*/ 1334969 h 4114800"/>
                <a:gd name="connsiteX17" fmla="*/ 22448 w 4038650"/>
                <a:gd name="connsiteY17" fmla="*/ 1349202 h 4114800"/>
                <a:gd name="connsiteX18" fmla="*/ 22370 w 4038650"/>
                <a:gd name="connsiteY18" fmla="*/ 1349280 h 4114800"/>
                <a:gd name="connsiteX19" fmla="*/ 291595 w 4038650"/>
                <a:gd name="connsiteY19" fmla="*/ 1618506 h 4114800"/>
                <a:gd name="connsiteX20" fmla="*/ 627113 w 4038650"/>
                <a:gd name="connsiteY20" fmla="*/ 2527855 h 4114800"/>
                <a:gd name="connsiteX21" fmla="*/ 914450 w 4038650"/>
                <a:gd name="connsiteY21" fmla="*/ 2590800 h 4114800"/>
                <a:gd name="connsiteX22" fmla="*/ 1752650 w 4038650"/>
                <a:gd name="connsiteY22" fmla="*/ 2590800 h 4114800"/>
                <a:gd name="connsiteX23" fmla="*/ 1792588 w 4038650"/>
                <a:gd name="connsiteY23" fmla="*/ 2579498 h 4114800"/>
                <a:gd name="connsiteX24" fmla="*/ 2209850 w 4038650"/>
                <a:gd name="connsiteY24" fmla="*/ 2322721 h 4114800"/>
                <a:gd name="connsiteX25" fmla="*/ 2209850 w 4038650"/>
                <a:gd name="connsiteY25" fmla="*/ 2514600 h 4114800"/>
                <a:gd name="connsiteX26" fmla="*/ 2286050 w 4038650"/>
                <a:gd name="connsiteY26" fmla="*/ 2766948 h 4114800"/>
                <a:gd name="connsiteX27" fmla="*/ 2286050 w 4038650"/>
                <a:gd name="connsiteY27" fmla="*/ 3200400 h 4114800"/>
                <a:gd name="connsiteX28" fmla="*/ 3200450 w 4038650"/>
                <a:gd name="connsiteY28" fmla="*/ 4114800 h 4114800"/>
                <a:gd name="connsiteX29" fmla="*/ 3657650 w 4038650"/>
                <a:gd name="connsiteY29" fmla="*/ 4114800 h 4114800"/>
                <a:gd name="connsiteX30" fmla="*/ 4038650 w 4038650"/>
                <a:gd name="connsiteY30" fmla="*/ 3733800 h 4114800"/>
                <a:gd name="connsiteX31" fmla="*/ 3657650 w 4038650"/>
                <a:gd name="connsiteY31" fmla="*/ 3352800 h 4114800"/>
                <a:gd name="connsiteX32" fmla="*/ 2362250 w 4038650"/>
                <a:gd name="connsiteY32" fmla="*/ 2514600 h 4114800"/>
                <a:gd name="connsiteX33" fmla="*/ 2362250 w 4038650"/>
                <a:gd name="connsiteY33" fmla="*/ 2228937 h 4114800"/>
                <a:gd name="connsiteX34" fmla="*/ 2971850 w 4038650"/>
                <a:gd name="connsiteY34" fmla="*/ 1853798 h 4114800"/>
                <a:gd name="connsiteX35" fmla="*/ 2971850 w 4038650"/>
                <a:gd name="connsiteY35" fmla="*/ 2514600 h 4114800"/>
                <a:gd name="connsiteX36" fmla="*/ 2667050 w 4038650"/>
                <a:gd name="connsiteY36" fmla="*/ 2819400 h 4114800"/>
                <a:gd name="connsiteX37" fmla="*/ 2362250 w 4038650"/>
                <a:gd name="connsiteY37" fmla="*/ 2514600 h 4114800"/>
                <a:gd name="connsiteX38" fmla="*/ 2079017 w 4038650"/>
                <a:gd name="connsiteY38" fmla="*/ 152400 h 4114800"/>
                <a:gd name="connsiteX39" fmla="*/ 3159834 w 4038650"/>
                <a:gd name="connsiteY39" fmla="*/ 152400 h 4114800"/>
                <a:gd name="connsiteX40" fmla="*/ 1426284 w 4038650"/>
                <a:gd name="connsiteY40" fmla="*/ 1219200 h 4114800"/>
                <a:gd name="connsiteX41" fmla="*/ 345466 w 4038650"/>
                <a:gd name="connsiteY41" fmla="*/ 1219200 h 4114800"/>
                <a:gd name="connsiteX42" fmla="*/ 260211 w 4038650"/>
                <a:gd name="connsiteY42" fmla="*/ 1371600 h 4114800"/>
                <a:gd name="connsiteX43" fmla="*/ 484063 w 4038650"/>
                <a:gd name="connsiteY43" fmla="*/ 1371600 h 4114800"/>
                <a:gd name="connsiteX44" fmla="*/ 373203 w 4038650"/>
                <a:gd name="connsiteY44" fmla="*/ 1484592 h 4114800"/>
                <a:gd name="connsiteX45" fmla="*/ 914450 w 4038650"/>
                <a:gd name="connsiteY45" fmla="*/ 2438400 h 4114800"/>
                <a:gd name="connsiteX46" fmla="*/ 380664 w 4038650"/>
                <a:gd name="connsiteY46" fmla="*/ 1905386 h 4114800"/>
                <a:gd name="connsiteX47" fmla="*/ 913678 w 4038650"/>
                <a:gd name="connsiteY47" fmla="*/ 1371600 h 4114800"/>
                <a:gd name="connsiteX48" fmla="*/ 1193749 w 4038650"/>
                <a:gd name="connsiteY48" fmla="*/ 1450807 h 4114800"/>
                <a:gd name="connsiteX49" fmla="*/ 1143050 w 4038650"/>
                <a:gd name="connsiteY49" fmla="*/ 1447800 h 4114800"/>
                <a:gd name="connsiteX50" fmla="*/ 685850 w 4038650"/>
                <a:gd name="connsiteY50" fmla="*/ 1905000 h 4114800"/>
                <a:gd name="connsiteX51" fmla="*/ 1143050 w 4038650"/>
                <a:gd name="connsiteY51" fmla="*/ 2362200 h 4114800"/>
                <a:gd name="connsiteX52" fmla="*/ 1193749 w 4038650"/>
                <a:gd name="connsiteY52" fmla="*/ 2359193 h 4114800"/>
                <a:gd name="connsiteX53" fmla="*/ 914450 w 4038650"/>
                <a:gd name="connsiteY53" fmla="*/ 2438400 h 4114800"/>
                <a:gd name="connsiteX54" fmla="*/ 1143050 w 4038650"/>
                <a:gd name="connsiteY54" fmla="*/ 2209800 h 4114800"/>
                <a:gd name="connsiteX55" fmla="*/ 838382 w 4038650"/>
                <a:gd name="connsiteY55" fmla="*/ 1904868 h 4114800"/>
                <a:gd name="connsiteX56" fmla="*/ 1143314 w 4038650"/>
                <a:gd name="connsiteY56" fmla="*/ 1600200 h 4114800"/>
                <a:gd name="connsiteX57" fmla="*/ 1219250 w 4038650"/>
                <a:gd name="connsiteY57" fmla="*/ 1609845 h 4114800"/>
                <a:gd name="connsiteX58" fmla="*/ 1000339 w 4038650"/>
                <a:gd name="connsiteY58" fmla="*/ 1981244 h 4114800"/>
                <a:gd name="connsiteX59" fmla="*/ 1219250 w 4038650"/>
                <a:gd name="connsiteY59" fmla="*/ 2200155 h 4114800"/>
                <a:gd name="connsiteX60" fmla="*/ 1143050 w 4038650"/>
                <a:gd name="connsiteY60" fmla="*/ 2209800 h 4114800"/>
                <a:gd name="connsiteX61" fmla="*/ 1143050 w 4038650"/>
                <a:gd name="connsiteY61" fmla="*/ 1905000 h 4114800"/>
                <a:gd name="connsiteX62" fmla="*/ 1295450 w 4038650"/>
                <a:gd name="connsiteY62" fmla="*/ 1752600 h 4114800"/>
                <a:gd name="connsiteX63" fmla="*/ 1447850 w 4038650"/>
                <a:gd name="connsiteY63" fmla="*/ 1905000 h 4114800"/>
                <a:gd name="connsiteX64" fmla="*/ 1295450 w 4038650"/>
                <a:gd name="connsiteY64" fmla="*/ 2057400 h 4114800"/>
                <a:gd name="connsiteX65" fmla="*/ 1143050 w 4038650"/>
                <a:gd name="connsiteY65" fmla="*/ 1905000 h 4114800"/>
                <a:gd name="connsiteX66" fmla="*/ 1676450 w 4038650"/>
                <a:gd name="connsiteY66" fmla="*/ 2438400 h 4114800"/>
                <a:gd name="connsiteX67" fmla="*/ 1344838 w 4038650"/>
                <a:gd name="connsiteY67" fmla="*/ 2438400 h 4114800"/>
                <a:gd name="connsiteX68" fmla="*/ 1448971 w 4038650"/>
                <a:gd name="connsiteY68" fmla="*/ 1475733 h 4114800"/>
                <a:gd name="connsiteX69" fmla="*/ 1344838 w 4038650"/>
                <a:gd name="connsiteY69" fmla="*/ 1371600 h 4114800"/>
                <a:gd name="connsiteX70" fmla="*/ 1416290 w 4038650"/>
                <a:gd name="connsiteY70" fmla="*/ 1371600 h 4114800"/>
                <a:gd name="connsiteX71" fmla="*/ 1676450 w 4038650"/>
                <a:gd name="connsiteY71" fmla="*/ 1631761 h 4114800"/>
                <a:gd name="connsiteX72" fmla="*/ 1828850 w 4038650"/>
                <a:gd name="connsiteY72" fmla="*/ 2378236 h 4114800"/>
                <a:gd name="connsiteX73" fmla="*/ 1828850 w 4038650"/>
                <a:gd name="connsiteY73" fmla="*/ 1643620 h 4114800"/>
                <a:gd name="connsiteX74" fmla="*/ 2948787 w 4038650"/>
                <a:gd name="connsiteY74" fmla="*/ 979954 h 4114800"/>
                <a:gd name="connsiteX75" fmla="*/ 2871089 w 4038650"/>
                <a:gd name="connsiteY75" fmla="*/ 848846 h 4114800"/>
                <a:gd name="connsiteX76" fmla="*/ 1764696 w 4038650"/>
                <a:gd name="connsiteY76" fmla="*/ 1504486 h 4114800"/>
                <a:gd name="connsiteX77" fmla="*/ 1569949 w 4038650"/>
                <a:gd name="connsiteY77" fmla="*/ 1309737 h 4114800"/>
                <a:gd name="connsiteX78" fmla="*/ 3417730 w 4038650"/>
                <a:gd name="connsiteY78" fmla="*/ 172641 h 4114800"/>
                <a:gd name="connsiteX79" fmla="*/ 3657650 w 4038650"/>
                <a:gd name="connsiteY79" fmla="*/ 412561 h 4114800"/>
                <a:gd name="connsiteX80" fmla="*/ 3657650 w 4038650"/>
                <a:gd name="connsiteY80" fmla="*/ 1252821 h 4114800"/>
                <a:gd name="connsiteX81" fmla="*/ 3657650 w 4038650"/>
                <a:gd name="connsiteY81" fmla="*/ 3962400 h 4114800"/>
                <a:gd name="connsiteX82" fmla="*/ 3200450 w 4038650"/>
                <a:gd name="connsiteY82" fmla="*/ 3962400 h 4114800"/>
                <a:gd name="connsiteX83" fmla="*/ 2438450 w 4038650"/>
                <a:gd name="connsiteY83" fmla="*/ 3200400 h 4114800"/>
                <a:gd name="connsiteX84" fmla="*/ 2438450 w 4038650"/>
                <a:gd name="connsiteY84" fmla="*/ 2910291 h 4114800"/>
                <a:gd name="connsiteX85" fmla="*/ 2895650 w 4038650"/>
                <a:gd name="connsiteY85" fmla="*/ 2910291 h 4114800"/>
                <a:gd name="connsiteX86" fmla="*/ 2895650 w 4038650"/>
                <a:gd name="connsiteY86" fmla="*/ 3124200 h 4114800"/>
                <a:gd name="connsiteX87" fmla="*/ 3276650 w 4038650"/>
                <a:gd name="connsiteY87" fmla="*/ 3505200 h 4114800"/>
                <a:gd name="connsiteX88" fmla="*/ 3657650 w 4038650"/>
                <a:gd name="connsiteY88" fmla="*/ 3505200 h 4114800"/>
                <a:gd name="connsiteX89" fmla="*/ 3886250 w 4038650"/>
                <a:gd name="connsiteY89" fmla="*/ 3733800 h 4114800"/>
                <a:gd name="connsiteX90" fmla="*/ 3657650 w 4038650"/>
                <a:gd name="connsiteY90" fmla="*/ 3962400 h 4114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</a:cxnLst>
              <a:rect l="l" t="t" r="r" b="b"/>
              <a:pathLst>
                <a:path w="4038650" h="4114800">
                  <a:moveTo>
                    <a:pt x="3657650" y="3352800"/>
                  </a:moveTo>
                  <a:lnTo>
                    <a:pt x="3276650" y="3352800"/>
                  </a:lnTo>
                  <a:cubicBezTo>
                    <a:pt x="3150458" y="3352656"/>
                    <a:pt x="3048195" y="3250393"/>
                    <a:pt x="3048050" y="3124200"/>
                  </a:cubicBezTo>
                  <a:lnTo>
                    <a:pt x="3048050" y="2766948"/>
                  </a:lnTo>
                  <a:cubicBezTo>
                    <a:pt x="3097823" y="2692207"/>
                    <a:pt x="3124338" y="2604397"/>
                    <a:pt x="3124250" y="2514600"/>
                  </a:cubicBezTo>
                  <a:lnTo>
                    <a:pt x="3124250" y="1760014"/>
                  </a:lnTo>
                  <a:lnTo>
                    <a:pt x="3773788" y="1360298"/>
                  </a:lnTo>
                  <a:cubicBezTo>
                    <a:pt x="3796323" y="1346429"/>
                    <a:pt x="3810050" y="1321862"/>
                    <a:pt x="3810050" y="1295400"/>
                  </a:cubicBezTo>
                  <a:lnTo>
                    <a:pt x="3810050" y="381000"/>
                  </a:lnTo>
                  <a:cubicBezTo>
                    <a:pt x="3810051" y="360790"/>
                    <a:pt x="3802022" y="341409"/>
                    <a:pt x="3787731" y="327120"/>
                  </a:cubicBezTo>
                  <a:lnTo>
                    <a:pt x="3482931" y="22320"/>
                  </a:lnTo>
                  <a:lnTo>
                    <a:pt x="3482853" y="22397"/>
                  </a:lnTo>
                  <a:cubicBezTo>
                    <a:pt x="3468604" y="8084"/>
                    <a:pt x="3449247" y="26"/>
                    <a:pt x="3429050" y="0"/>
                  </a:cubicBezTo>
                  <a:lnTo>
                    <a:pt x="2057450" y="0"/>
                  </a:lnTo>
                  <a:cubicBezTo>
                    <a:pt x="2043349" y="-1"/>
                    <a:pt x="2029523" y="3912"/>
                    <a:pt x="2017513" y="11302"/>
                  </a:cubicBezTo>
                  <a:lnTo>
                    <a:pt x="36313" y="1230502"/>
                  </a:lnTo>
                  <a:cubicBezTo>
                    <a:pt x="528" y="1252412"/>
                    <a:pt x="-10719" y="1299184"/>
                    <a:pt x="11192" y="1334969"/>
                  </a:cubicBezTo>
                  <a:cubicBezTo>
                    <a:pt x="14362" y="1340146"/>
                    <a:pt x="18141" y="1344924"/>
                    <a:pt x="22448" y="1349202"/>
                  </a:cubicBezTo>
                  <a:lnTo>
                    <a:pt x="22370" y="1349280"/>
                  </a:lnTo>
                  <a:lnTo>
                    <a:pt x="291595" y="1618506"/>
                  </a:lnTo>
                  <a:cubicBezTo>
                    <a:pt x="133136" y="1962266"/>
                    <a:pt x="283352" y="2369396"/>
                    <a:pt x="627113" y="2527855"/>
                  </a:cubicBezTo>
                  <a:cubicBezTo>
                    <a:pt x="717208" y="2569385"/>
                    <a:pt x="815244" y="2590861"/>
                    <a:pt x="914450" y="2590800"/>
                  </a:cubicBezTo>
                  <a:lnTo>
                    <a:pt x="1752650" y="2590800"/>
                  </a:lnTo>
                  <a:cubicBezTo>
                    <a:pt x="1766752" y="2590801"/>
                    <a:pt x="1780577" y="2586889"/>
                    <a:pt x="1792588" y="2579498"/>
                  </a:cubicBezTo>
                  <a:lnTo>
                    <a:pt x="2209850" y="2322721"/>
                  </a:lnTo>
                  <a:lnTo>
                    <a:pt x="2209850" y="2514600"/>
                  </a:lnTo>
                  <a:cubicBezTo>
                    <a:pt x="2209763" y="2604397"/>
                    <a:pt x="2236278" y="2692207"/>
                    <a:pt x="2286050" y="2766948"/>
                  </a:cubicBezTo>
                  <a:lnTo>
                    <a:pt x="2286050" y="3200400"/>
                  </a:lnTo>
                  <a:cubicBezTo>
                    <a:pt x="2286621" y="3705173"/>
                    <a:pt x="2695678" y="4114229"/>
                    <a:pt x="3200450" y="4114800"/>
                  </a:cubicBezTo>
                  <a:lnTo>
                    <a:pt x="3657650" y="4114800"/>
                  </a:lnTo>
                  <a:cubicBezTo>
                    <a:pt x="3868071" y="4114800"/>
                    <a:pt x="4038650" y="3944221"/>
                    <a:pt x="4038650" y="3733800"/>
                  </a:cubicBezTo>
                  <a:cubicBezTo>
                    <a:pt x="4038650" y="3523380"/>
                    <a:pt x="3868071" y="3352800"/>
                    <a:pt x="3657650" y="3352800"/>
                  </a:cubicBezTo>
                  <a:close/>
                  <a:moveTo>
                    <a:pt x="2362250" y="2514600"/>
                  </a:moveTo>
                  <a:lnTo>
                    <a:pt x="2362250" y="2228937"/>
                  </a:lnTo>
                  <a:lnTo>
                    <a:pt x="2971850" y="1853798"/>
                  </a:lnTo>
                  <a:lnTo>
                    <a:pt x="2971850" y="2514600"/>
                  </a:lnTo>
                  <a:cubicBezTo>
                    <a:pt x="2971850" y="2682937"/>
                    <a:pt x="2835387" y="2819400"/>
                    <a:pt x="2667050" y="2819400"/>
                  </a:cubicBezTo>
                  <a:cubicBezTo>
                    <a:pt x="2498714" y="2819400"/>
                    <a:pt x="2362250" y="2682937"/>
                    <a:pt x="2362250" y="2514600"/>
                  </a:cubicBezTo>
                  <a:close/>
                  <a:moveTo>
                    <a:pt x="2079017" y="152400"/>
                  </a:moveTo>
                  <a:lnTo>
                    <a:pt x="3159834" y="152400"/>
                  </a:lnTo>
                  <a:lnTo>
                    <a:pt x="1426284" y="1219200"/>
                  </a:lnTo>
                  <a:lnTo>
                    <a:pt x="345466" y="1219200"/>
                  </a:lnTo>
                  <a:close/>
                  <a:moveTo>
                    <a:pt x="260211" y="1371600"/>
                  </a:moveTo>
                  <a:lnTo>
                    <a:pt x="484063" y="1371600"/>
                  </a:lnTo>
                  <a:cubicBezTo>
                    <a:pt x="442907" y="1404897"/>
                    <a:pt x="405710" y="1442809"/>
                    <a:pt x="373203" y="1484592"/>
                  </a:cubicBezTo>
                  <a:close/>
                  <a:moveTo>
                    <a:pt x="914450" y="2438400"/>
                  </a:moveTo>
                  <a:cubicBezTo>
                    <a:pt x="619862" y="2438613"/>
                    <a:pt x="380878" y="2199975"/>
                    <a:pt x="380664" y="1905386"/>
                  </a:cubicBezTo>
                  <a:cubicBezTo>
                    <a:pt x="380451" y="1610798"/>
                    <a:pt x="619089" y="1371814"/>
                    <a:pt x="913678" y="1371600"/>
                  </a:cubicBezTo>
                  <a:cubicBezTo>
                    <a:pt x="1012573" y="1371529"/>
                    <a:pt x="1109540" y="1398952"/>
                    <a:pt x="1193749" y="1450807"/>
                  </a:cubicBezTo>
                  <a:cubicBezTo>
                    <a:pt x="1176923" y="1448814"/>
                    <a:pt x="1159994" y="1447810"/>
                    <a:pt x="1143050" y="1447800"/>
                  </a:cubicBezTo>
                  <a:cubicBezTo>
                    <a:pt x="890546" y="1447800"/>
                    <a:pt x="685850" y="1652495"/>
                    <a:pt x="685850" y="1905000"/>
                  </a:cubicBezTo>
                  <a:cubicBezTo>
                    <a:pt x="685850" y="2157505"/>
                    <a:pt x="890546" y="2362200"/>
                    <a:pt x="1143050" y="2362200"/>
                  </a:cubicBezTo>
                  <a:cubicBezTo>
                    <a:pt x="1159994" y="2362191"/>
                    <a:pt x="1176923" y="2361187"/>
                    <a:pt x="1193749" y="2359193"/>
                  </a:cubicBezTo>
                  <a:cubicBezTo>
                    <a:pt x="1109834" y="2411071"/>
                    <a:pt x="1013107" y="2438502"/>
                    <a:pt x="914450" y="2438400"/>
                  </a:cubicBezTo>
                  <a:close/>
                  <a:moveTo>
                    <a:pt x="1143050" y="2209800"/>
                  </a:moveTo>
                  <a:cubicBezTo>
                    <a:pt x="974714" y="2209727"/>
                    <a:pt x="838309" y="2073205"/>
                    <a:pt x="838382" y="1904868"/>
                  </a:cubicBezTo>
                  <a:cubicBezTo>
                    <a:pt x="838455" y="1736532"/>
                    <a:pt x="974977" y="1600127"/>
                    <a:pt x="1143314" y="1600200"/>
                  </a:cubicBezTo>
                  <a:cubicBezTo>
                    <a:pt x="1168931" y="1600211"/>
                    <a:pt x="1194444" y="1603452"/>
                    <a:pt x="1219250" y="1609845"/>
                  </a:cubicBezTo>
                  <a:cubicBezTo>
                    <a:pt x="1056241" y="1651953"/>
                    <a:pt x="958231" y="1818234"/>
                    <a:pt x="1000339" y="1981244"/>
                  </a:cubicBezTo>
                  <a:cubicBezTo>
                    <a:pt x="1028070" y="2088595"/>
                    <a:pt x="1111900" y="2172425"/>
                    <a:pt x="1219250" y="2200155"/>
                  </a:cubicBezTo>
                  <a:cubicBezTo>
                    <a:pt x="1194360" y="2206576"/>
                    <a:pt x="1168756" y="2209817"/>
                    <a:pt x="1143050" y="2209800"/>
                  </a:cubicBezTo>
                  <a:close/>
                  <a:moveTo>
                    <a:pt x="1143050" y="1905000"/>
                  </a:moveTo>
                  <a:cubicBezTo>
                    <a:pt x="1143050" y="1820832"/>
                    <a:pt x="1211282" y="1752600"/>
                    <a:pt x="1295450" y="1752600"/>
                  </a:cubicBezTo>
                  <a:cubicBezTo>
                    <a:pt x="1379619" y="1752600"/>
                    <a:pt x="1447850" y="1820832"/>
                    <a:pt x="1447850" y="1905000"/>
                  </a:cubicBezTo>
                  <a:cubicBezTo>
                    <a:pt x="1447850" y="1989168"/>
                    <a:pt x="1379619" y="2057400"/>
                    <a:pt x="1295450" y="2057400"/>
                  </a:cubicBezTo>
                  <a:cubicBezTo>
                    <a:pt x="1211322" y="2057304"/>
                    <a:pt x="1143147" y="1989128"/>
                    <a:pt x="1143050" y="1905000"/>
                  </a:cubicBezTo>
                  <a:close/>
                  <a:moveTo>
                    <a:pt x="1676450" y="2438400"/>
                  </a:moveTo>
                  <a:lnTo>
                    <a:pt x="1344838" y="2438400"/>
                  </a:lnTo>
                  <a:cubicBezTo>
                    <a:pt x="1639427" y="2201322"/>
                    <a:pt x="1686049" y="1770322"/>
                    <a:pt x="1448971" y="1475733"/>
                  </a:cubicBezTo>
                  <a:cubicBezTo>
                    <a:pt x="1418105" y="1437379"/>
                    <a:pt x="1383192" y="1402466"/>
                    <a:pt x="1344838" y="1371600"/>
                  </a:cubicBezTo>
                  <a:lnTo>
                    <a:pt x="1416290" y="1371600"/>
                  </a:lnTo>
                  <a:lnTo>
                    <a:pt x="1676450" y="1631761"/>
                  </a:lnTo>
                  <a:close/>
                  <a:moveTo>
                    <a:pt x="1828850" y="2378236"/>
                  </a:moveTo>
                  <a:lnTo>
                    <a:pt x="1828850" y="1643620"/>
                  </a:lnTo>
                  <a:lnTo>
                    <a:pt x="2948787" y="979954"/>
                  </a:lnTo>
                  <a:lnTo>
                    <a:pt x="2871089" y="848846"/>
                  </a:lnTo>
                  <a:lnTo>
                    <a:pt x="1764696" y="1504486"/>
                  </a:lnTo>
                  <a:lnTo>
                    <a:pt x="1569949" y="1309737"/>
                  </a:lnTo>
                  <a:lnTo>
                    <a:pt x="3417730" y="172641"/>
                  </a:lnTo>
                  <a:lnTo>
                    <a:pt x="3657650" y="412561"/>
                  </a:lnTo>
                  <a:lnTo>
                    <a:pt x="3657650" y="1252821"/>
                  </a:lnTo>
                  <a:close/>
                  <a:moveTo>
                    <a:pt x="3657650" y="3962400"/>
                  </a:moveTo>
                  <a:lnTo>
                    <a:pt x="3200450" y="3962400"/>
                  </a:lnTo>
                  <a:cubicBezTo>
                    <a:pt x="2779806" y="3961925"/>
                    <a:pt x="2438925" y="3621045"/>
                    <a:pt x="2438450" y="3200400"/>
                  </a:cubicBezTo>
                  <a:lnTo>
                    <a:pt x="2438450" y="2910291"/>
                  </a:lnTo>
                  <a:cubicBezTo>
                    <a:pt x="2579817" y="2992303"/>
                    <a:pt x="2754284" y="2992303"/>
                    <a:pt x="2895650" y="2910291"/>
                  </a:cubicBezTo>
                  <a:lnTo>
                    <a:pt x="2895650" y="3124200"/>
                  </a:lnTo>
                  <a:cubicBezTo>
                    <a:pt x="2895888" y="3334522"/>
                    <a:pt x="3066328" y="3504963"/>
                    <a:pt x="3276650" y="3505200"/>
                  </a:cubicBezTo>
                  <a:lnTo>
                    <a:pt x="3657650" y="3505200"/>
                  </a:lnTo>
                  <a:cubicBezTo>
                    <a:pt x="3783903" y="3505200"/>
                    <a:pt x="3886250" y="3607548"/>
                    <a:pt x="3886250" y="3733800"/>
                  </a:cubicBezTo>
                  <a:cubicBezTo>
                    <a:pt x="3886250" y="3860052"/>
                    <a:pt x="3783903" y="3962400"/>
                    <a:pt x="3657650" y="396240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342905"/>
              <a:endParaRPr lang="ru-RU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5" name="Freeform: Shape 44">
              <a:extLst>
                <a:ext uri="{FF2B5EF4-FFF2-40B4-BE49-F238E27FC236}">
                  <a16:creationId xmlns:a16="http://schemas.microsoft.com/office/drawing/2014/main" id="{2FE9F7E6-CD57-4FDD-B495-CE223C092E8F}"/>
                </a:ext>
              </a:extLst>
            </p:cNvPr>
            <p:cNvSpPr/>
            <p:nvPr/>
          </p:nvSpPr>
          <p:spPr>
            <a:xfrm>
              <a:off x="6872287" y="3779837"/>
              <a:ext cx="457200" cy="457200"/>
            </a:xfrm>
            <a:custGeom>
              <a:avLst/>
              <a:gdLst>
                <a:gd name="connsiteX0" fmla="*/ 228600 w 457200"/>
                <a:gd name="connsiteY0" fmla="*/ 457200 h 457200"/>
                <a:gd name="connsiteX1" fmla="*/ 457200 w 457200"/>
                <a:gd name="connsiteY1" fmla="*/ 228600 h 457200"/>
                <a:gd name="connsiteX2" fmla="*/ 228600 w 457200"/>
                <a:gd name="connsiteY2" fmla="*/ 0 h 457200"/>
                <a:gd name="connsiteX3" fmla="*/ 0 w 457200"/>
                <a:gd name="connsiteY3" fmla="*/ 228600 h 457200"/>
                <a:gd name="connsiteX4" fmla="*/ 228600 w 457200"/>
                <a:gd name="connsiteY4" fmla="*/ 457200 h 457200"/>
                <a:gd name="connsiteX5" fmla="*/ 228600 w 457200"/>
                <a:gd name="connsiteY5" fmla="*/ 152400 h 457200"/>
                <a:gd name="connsiteX6" fmla="*/ 304800 w 457200"/>
                <a:gd name="connsiteY6" fmla="*/ 228600 h 457200"/>
                <a:gd name="connsiteX7" fmla="*/ 228600 w 457200"/>
                <a:gd name="connsiteY7" fmla="*/ 304800 h 457200"/>
                <a:gd name="connsiteX8" fmla="*/ 152400 w 457200"/>
                <a:gd name="connsiteY8" fmla="*/ 228600 h 457200"/>
                <a:gd name="connsiteX9" fmla="*/ 228600 w 457200"/>
                <a:gd name="connsiteY9" fmla="*/ 15240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57200" h="457200">
                  <a:moveTo>
                    <a:pt x="228600" y="457200"/>
                  </a:moveTo>
                  <a:cubicBezTo>
                    <a:pt x="354852" y="457200"/>
                    <a:pt x="457200" y="354852"/>
                    <a:pt x="457200" y="228600"/>
                  </a:cubicBezTo>
                  <a:cubicBezTo>
                    <a:pt x="457200" y="102348"/>
                    <a:pt x="354852" y="0"/>
                    <a:pt x="228600" y="0"/>
                  </a:cubicBezTo>
                  <a:cubicBezTo>
                    <a:pt x="102348" y="0"/>
                    <a:pt x="0" y="102348"/>
                    <a:pt x="0" y="228600"/>
                  </a:cubicBezTo>
                  <a:cubicBezTo>
                    <a:pt x="141" y="354794"/>
                    <a:pt x="102406" y="457059"/>
                    <a:pt x="228600" y="457200"/>
                  </a:cubicBezTo>
                  <a:close/>
                  <a:moveTo>
                    <a:pt x="228600" y="152400"/>
                  </a:moveTo>
                  <a:cubicBezTo>
                    <a:pt x="270684" y="152400"/>
                    <a:pt x="304800" y="186516"/>
                    <a:pt x="304800" y="228600"/>
                  </a:cubicBezTo>
                  <a:cubicBezTo>
                    <a:pt x="304800" y="270684"/>
                    <a:pt x="270684" y="304800"/>
                    <a:pt x="228600" y="304800"/>
                  </a:cubicBezTo>
                  <a:cubicBezTo>
                    <a:pt x="186516" y="304800"/>
                    <a:pt x="152400" y="270684"/>
                    <a:pt x="152400" y="228600"/>
                  </a:cubicBezTo>
                  <a:cubicBezTo>
                    <a:pt x="152448" y="186536"/>
                    <a:pt x="186536" y="152448"/>
                    <a:pt x="228600" y="15240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342905"/>
              <a:endParaRPr lang="ru-RU">
                <a:solidFill>
                  <a:prstClr val="black"/>
                </a:solidFill>
                <a:latin typeface="Calibri" panose="020F0502020204030204"/>
              </a:endParaRPr>
            </a:p>
          </p:txBody>
        </p:sp>
      </p:grpSp>
      <p:grpSp>
        <p:nvGrpSpPr>
          <p:cNvPr id="46" name="Graphic 176">
            <a:extLst>
              <a:ext uri="{FF2B5EF4-FFF2-40B4-BE49-F238E27FC236}">
                <a16:creationId xmlns:a16="http://schemas.microsoft.com/office/drawing/2014/main" id="{33EDF7B7-6BCB-4D29-B104-9FC8F71A262F}"/>
              </a:ext>
            </a:extLst>
          </p:cNvPr>
          <p:cNvGrpSpPr/>
          <p:nvPr/>
        </p:nvGrpSpPr>
        <p:grpSpPr>
          <a:xfrm>
            <a:off x="853521" y="4880669"/>
            <a:ext cx="219213" cy="219077"/>
            <a:chOff x="4281487" y="1342951"/>
            <a:chExt cx="4876790" cy="4873771"/>
          </a:xfrm>
          <a:solidFill>
            <a:srgbClr val="00B050"/>
          </a:solidFill>
        </p:grpSpPr>
        <p:sp>
          <p:nvSpPr>
            <p:cNvPr id="47" name="Freeform: Shape 46">
              <a:extLst>
                <a:ext uri="{FF2B5EF4-FFF2-40B4-BE49-F238E27FC236}">
                  <a16:creationId xmlns:a16="http://schemas.microsoft.com/office/drawing/2014/main" id="{83242758-12B5-45CA-9D53-356DE293C87F}"/>
                </a:ext>
              </a:extLst>
            </p:cNvPr>
            <p:cNvSpPr/>
            <p:nvPr/>
          </p:nvSpPr>
          <p:spPr>
            <a:xfrm>
              <a:off x="6110344" y="3359222"/>
              <a:ext cx="2400300" cy="2400300"/>
            </a:xfrm>
            <a:custGeom>
              <a:avLst/>
              <a:gdLst>
                <a:gd name="connsiteX0" fmla="*/ 1200150 w 2400300"/>
                <a:gd name="connsiteY0" fmla="*/ 0 h 2400300"/>
                <a:gd name="connsiteX1" fmla="*/ 737835 w 2400300"/>
                <a:gd name="connsiteY1" fmla="*/ 92297 h 2400300"/>
                <a:gd name="connsiteX2" fmla="*/ 686657 w 2400300"/>
                <a:gd name="connsiteY2" fmla="*/ 216903 h 2400300"/>
                <a:gd name="connsiteX3" fmla="*/ 811263 w 2400300"/>
                <a:gd name="connsiteY3" fmla="*/ 268081 h 2400300"/>
                <a:gd name="connsiteX4" fmla="*/ 1200150 w 2400300"/>
                <a:gd name="connsiteY4" fmla="*/ 190500 h 2400300"/>
                <a:gd name="connsiteX5" fmla="*/ 2209800 w 2400300"/>
                <a:gd name="connsiteY5" fmla="*/ 1200150 h 2400300"/>
                <a:gd name="connsiteX6" fmla="*/ 1200150 w 2400300"/>
                <a:gd name="connsiteY6" fmla="*/ 2209800 h 2400300"/>
                <a:gd name="connsiteX7" fmla="*/ 190500 w 2400300"/>
                <a:gd name="connsiteY7" fmla="*/ 1200150 h 2400300"/>
                <a:gd name="connsiteX8" fmla="*/ 267853 w 2400300"/>
                <a:gd name="connsiteY8" fmla="*/ 811816 h 2400300"/>
                <a:gd name="connsiteX9" fmla="*/ 216608 w 2400300"/>
                <a:gd name="connsiteY9" fmla="*/ 687238 h 2400300"/>
                <a:gd name="connsiteX10" fmla="*/ 92031 w 2400300"/>
                <a:gd name="connsiteY10" fmla="*/ 738483 h 2400300"/>
                <a:gd name="connsiteX11" fmla="*/ 0 w 2400300"/>
                <a:gd name="connsiteY11" fmla="*/ 1200150 h 2400300"/>
                <a:gd name="connsiteX12" fmla="*/ 1200150 w 2400300"/>
                <a:gd name="connsiteY12" fmla="*/ 2400300 h 2400300"/>
                <a:gd name="connsiteX13" fmla="*/ 2400300 w 2400300"/>
                <a:gd name="connsiteY13" fmla="*/ 1200150 h 2400300"/>
                <a:gd name="connsiteX14" fmla="*/ 1200150 w 2400300"/>
                <a:gd name="connsiteY14" fmla="*/ 0 h 2400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400300" h="2400300">
                  <a:moveTo>
                    <a:pt x="1200150" y="0"/>
                  </a:moveTo>
                  <a:cubicBezTo>
                    <a:pt x="1039997" y="0"/>
                    <a:pt x="884444" y="31061"/>
                    <a:pt x="737835" y="92297"/>
                  </a:cubicBezTo>
                  <a:cubicBezTo>
                    <a:pt x="689296" y="112576"/>
                    <a:pt x="666388" y="168364"/>
                    <a:pt x="686657" y="216903"/>
                  </a:cubicBezTo>
                  <a:cubicBezTo>
                    <a:pt x="706936" y="265452"/>
                    <a:pt x="762724" y="288331"/>
                    <a:pt x="811263" y="268081"/>
                  </a:cubicBezTo>
                  <a:cubicBezTo>
                    <a:pt x="934498" y="216598"/>
                    <a:pt x="1065333" y="190500"/>
                    <a:pt x="1200150" y="190500"/>
                  </a:cubicBezTo>
                  <a:cubicBezTo>
                    <a:pt x="1756877" y="190500"/>
                    <a:pt x="2209800" y="643433"/>
                    <a:pt x="2209800" y="1200150"/>
                  </a:cubicBezTo>
                  <a:cubicBezTo>
                    <a:pt x="2209800" y="1756867"/>
                    <a:pt x="1756877" y="2209800"/>
                    <a:pt x="1200150" y="2209800"/>
                  </a:cubicBezTo>
                  <a:cubicBezTo>
                    <a:pt x="643423" y="2209800"/>
                    <a:pt x="190500" y="1756867"/>
                    <a:pt x="190500" y="1200150"/>
                  </a:cubicBezTo>
                  <a:cubicBezTo>
                    <a:pt x="190500" y="1065543"/>
                    <a:pt x="216522" y="934879"/>
                    <a:pt x="267853" y="811816"/>
                  </a:cubicBezTo>
                  <a:cubicBezTo>
                    <a:pt x="288103" y="763257"/>
                    <a:pt x="265157" y="707489"/>
                    <a:pt x="216608" y="687238"/>
                  </a:cubicBezTo>
                  <a:cubicBezTo>
                    <a:pt x="168088" y="667017"/>
                    <a:pt x="112281" y="689934"/>
                    <a:pt x="92031" y="738483"/>
                  </a:cubicBezTo>
                  <a:cubicBezTo>
                    <a:pt x="30966" y="884911"/>
                    <a:pt x="0" y="1040235"/>
                    <a:pt x="0" y="1200150"/>
                  </a:cubicBezTo>
                  <a:cubicBezTo>
                    <a:pt x="0" y="1861918"/>
                    <a:pt x="538382" y="2400300"/>
                    <a:pt x="1200150" y="2400300"/>
                  </a:cubicBezTo>
                  <a:cubicBezTo>
                    <a:pt x="1861919" y="2400300"/>
                    <a:pt x="2400300" y="1861918"/>
                    <a:pt x="2400300" y="1200150"/>
                  </a:cubicBezTo>
                  <a:cubicBezTo>
                    <a:pt x="2400300" y="538382"/>
                    <a:pt x="1861919" y="0"/>
                    <a:pt x="1200150" y="0"/>
                  </a:cubicBezTo>
                  <a:close/>
                </a:path>
              </a:pathLst>
            </a:custGeom>
            <a:solidFill>
              <a:srgbClr val="00B05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342905"/>
              <a:endParaRPr lang="ru-RU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8" name="Freeform: Shape 47">
              <a:extLst>
                <a:ext uri="{FF2B5EF4-FFF2-40B4-BE49-F238E27FC236}">
                  <a16:creationId xmlns:a16="http://schemas.microsoft.com/office/drawing/2014/main" id="{135114FE-4B9E-40DD-A15D-97474DEEB1B1}"/>
                </a:ext>
              </a:extLst>
            </p:cNvPr>
            <p:cNvSpPr/>
            <p:nvPr/>
          </p:nvSpPr>
          <p:spPr>
            <a:xfrm>
              <a:off x="6529444" y="3778322"/>
              <a:ext cx="1562100" cy="1562100"/>
            </a:xfrm>
            <a:custGeom>
              <a:avLst/>
              <a:gdLst>
                <a:gd name="connsiteX0" fmla="*/ 781050 w 1562100"/>
                <a:gd name="connsiteY0" fmla="*/ 1562100 h 1562100"/>
                <a:gd name="connsiteX1" fmla="*/ 1562100 w 1562100"/>
                <a:gd name="connsiteY1" fmla="*/ 781050 h 1562100"/>
                <a:gd name="connsiteX2" fmla="*/ 781050 w 1562100"/>
                <a:gd name="connsiteY2" fmla="*/ 0 h 1562100"/>
                <a:gd name="connsiteX3" fmla="*/ 0 w 1562100"/>
                <a:gd name="connsiteY3" fmla="*/ 781050 h 1562100"/>
                <a:gd name="connsiteX4" fmla="*/ 781050 w 1562100"/>
                <a:gd name="connsiteY4" fmla="*/ 1562100 h 1562100"/>
                <a:gd name="connsiteX5" fmla="*/ 781050 w 1562100"/>
                <a:gd name="connsiteY5" fmla="*/ 190500 h 1562100"/>
                <a:gd name="connsiteX6" fmla="*/ 1371600 w 1562100"/>
                <a:gd name="connsiteY6" fmla="*/ 781050 h 1562100"/>
                <a:gd name="connsiteX7" fmla="*/ 781050 w 1562100"/>
                <a:gd name="connsiteY7" fmla="*/ 1371600 h 1562100"/>
                <a:gd name="connsiteX8" fmla="*/ 190500 w 1562100"/>
                <a:gd name="connsiteY8" fmla="*/ 781050 h 1562100"/>
                <a:gd name="connsiteX9" fmla="*/ 781050 w 1562100"/>
                <a:gd name="connsiteY9" fmla="*/ 190500 h 1562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562100" h="1562100">
                  <a:moveTo>
                    <a:pt x="781050" y="1562100"/>
                  </a:moveTo>
                  <a:cubicBezTo>
                    <a:pt x="1211723" y="1562100"/>
                    <a:pt x="1562100" y="1211723"/>
                    <a:pt x="1562100" y="781050"/>
                  </a:cubicBezTo>
                  <a:cubicBezTo>
                    <a:pt x="1562100" y="350377"/>
                    <a:pt x="1211723" y="0"/>
                    <a:pt x="781050" y="0"/>
                  </a:cubicBezTo>
                  <a:cubicBezTo>
                    <a:pt x="350377" y="0"/>
                    <a:pt x="0" y="350377"/>
                    <a:pt x="0" y="781050"/>
                  </a:cubicBezTo>
                  <a:cubicBezTo>
                    <a:pt x="0" y="1211723"/>
                    <a:pt x="350387" y="1562100"/>
                    <a:pt x="781050" y="1562100"/>
                  </a:cubicBezTo>
                  <a:close/>
                  <a:moveTo>
                    <a:pt x="781050" y="190500"/>
                  </a:moveTo>
                  <a:cubicBezTo>
                    <a:pt x="1106681" y="190500"/>
                    <a:pt x="1371600" y="455428"/>
                    <a:pt x="1371600" y="781050"/>
                  </a:cubicBezTo>
                  <a:cubicBezTo>
                    <a:pt x="1371600" y="1106672"/>
                    <a:pt x="1106681" y="1371600"/>
                    <a:pt x="781050" y="1371600"/>
                  </a:cubicBezTo>
                  <a:cubicBezTo>
                    <a:pt x="455419" y="1371600"/>
                    <a:pt x="190500" y="1106681"/>
                    <a:pt x="190500" y="781050"/>
                  </a:cubicBezTo>
                  <a:cubicBezTo>
                    <a:pt x="190500" y="455419"/>
                    <a:pt x="455419" y="190500"/>
                    <a:pt x="781050" y="190500"/>
                  </a:cubicBezTo>
                  <a:close/>
                </a:path>
              </a:pathLst>
            </a:custGeom>
            <a:solidFill>
              <a:srgbClr val="00B05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342905"/>
              <a:endParaRPr lang="ru-RU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49" name="Freeform: Shape 48">
              <a:extLst>
                <a:ext uri="{FF2B5EF4-FFF2-40B4-BE49-F238E27FC236}">
                  <a16:creationId xmlns:a16="http://schemas.microsoft.com/office/drawing/2014/main" id="{1DDBB8B7-8BA6-4E36-AF02-EEDE31BD17E4}"/>
                </a:ext>
              </a:extLst>
            </p:cNvPr>
            <p:cNvSpPr/>
            <p:nvPr/>
          </p:nvSpPr>
          <p:spPr>
            <a:xfrm>
              <a:off x="4281487" y="2292422"/>
              <a:ext cx="4876790" cy="3924300"/>
            </a:xfrm>
            <a:custGeom>
              <a:avLst/>
              <a:gdLst>
                <a:gd name="connsiteX0" fmla="*/ 4393730 w 4876790"/>
                <a:gd name="connsiteY0" fmla="*/ 609600 h 3924300"/>
                <a:gd name="connsiteX1" fmla="*/ 4103980 w 4876790"/>
                <a:gd name="connsiteY1" fmla="*/ 609600 h 3924300"/>
                <a:gd name="connsiteX2" fmla="*/ 3771414 w 4876790"/>
                <a:gd name="connsiteY2" fmla="*/ 46796 h 3924300"/>
                <a:gd name="connsiteX3" fmla="*/ 3689414 w 4876790"/>
                <a:gd name="connsiteY3" fmla="*/ 0 h 3924300"/>
                <a:gd name="connsiteX4" fmla="*/ 2368610 w 4876790"/>
                <a:gd name="connsiteY4" fmla="*/ 0 h 3924300"/>
                <a:gd name="connsiteX5" fmla="*/ 2286610 w 4876790"/>
                <a:gd name="connsiteY5" fmla="*/ 46796 h 3924300"/>
                <a:gd name="connsiteX6" fmla="*/ 1954044 w 4876790"/>
                <a:gd name="connsiteY6" fmla="*/ 609600 h 3924300"/>
                <a:gd name="connsiteX7" fmla="*/ 1409700 w 4876790"/>
                <a:gd name="connsiteY7" fmla="*/ 609600 h 3924300"/>
                <a:gd name="connsiteX8" fmla="*/ 1409700 w 4876790"/>
                <a:gd name="connsiteY8" fmla="*/ 495300 h 3924300"/>
                <a:gd name="connsiteX9" fmla="*/ 1066800 w 4876790"/>
                <a:gd name="connsiteY9" fmla="*/ 152400 h 3924300"/>
                <a:gd name="connsiteX10" fmla="*/ 723900 w 4876790"/>
                <a:gd name="connsiteY10" fmla="*/ 495300 h 3924300"/>
                <a:gd name="connsiteX11" fmla="*/ 723900 w 4876790"/>
                <a:gd name="connsiteY11" fmla="*/ 609600 h 3924300"/>
                <a:gd name="connsiteX12" fmla="*/ 483070 w 4876790"/>
                <a:gd name="connsiteY12" fmla="*/ 609600 h 3924300"/>
                <a:gd name="connsiteX13" fmla="*/ 0 w 4876790"/>
                <a:gd name="connsiteY13" fmla="*/ 1092679 h 3924300"/>
                <a:gd name="connsiteX14" fmla="*/ 0 w 4876790"/>
                <a:gd name="connsiteY14" fmla="*/ 3441221 h 3924300"/>
                <a:gd name="connsiteX15" fmla="*/ 483070 w 4876790"/>
                <a:gd name="connsiteY15" fmla="*/ 3924300 h 3924300"/>
                <a:gd name="connsiteX16" fmla="*/ 4393721 w 4876790"/>
                <a:gd name="connsiteY16" fmla="*/ 3924300 h 3924300"/>
                <a:gd name="connsiteX17" fmla="*/ 4876791 w 4876790"/>
                <a:gd name="connsiteY17" fmla="*/ 3441221 h 3924300"/>
                <a:gd name="connsiteX18" fmla="*/ 4876791 w 4876790"/>
                <a:gd name="connsiteY18" fmla="*/ 1092679 h 3924300"/>
                <a:gd name="connsiteX19" fmla="*/ 4393730 w 4876790"/>
                <a:gd name="connsiteY19" fmla="*/ 609600 h 3924300"/>
                <a:gd name="connsiteX20" fmla="*/ 2422960 w 4876790"/>
                <a:gd name="connsiteY20" fmla="*/ 190500 h 3924300"/>
                <a:gd name="connsiteX21" fmla="*/ 3635054 w 4876790"/>
                <a:gd name="connsiteY21" fmla="*/ 190500 h 3924300"/>
                <a:gd name="connsiteX22" fmla="*/ 3882704 w 4876790"/>
                <a:gd name="connsiteY22" fmla="*/ 609600 h 3924300"/>
                <a:gd name="connsiteX23" fmla="*/ 2175310 w 4876790"/>
                <a:gd name="connsiteY23" fmla="*/ 609600 h 3924300"/>
                <a:gd name="connsiteX24" fmla="*/ 914400 w 4876790"/>
                <a:gd name="connsiteY24" fmla="*/ 495300 h 3924300"/>
                <a:gd name="connsiteX25" fmla="*/ 1066800 w 4876790"/>
                <a:gd name="connsiteY25" fmla="*/ 342900 h 3924300"/>
                <a:gd name="connsiteX26" fmla="*/ 1219200 w 4876790"/>
                <a:gd name="connsiteY26" fmla="*/ 495300 h 3924300"/>
                <a:gd name="connsiteX27" fmla="*/ 1219200 w 4876790"/>
                <a:gd name="connsiteY27" fmla="*/ 609600 h 3924300"/>
                <a:gd name="connsiteX28" fmla="*/ 914400 w 4876790"/>
                <a:gd name="connsiteY28" fmla="*/ 609600 h 3924300"/>
                <a:gd name="connsiteX29" fmla="*/ 4686300 w 4876790"/>
                <a:gd name="connsiteY29" fmla="*/ 3441221 h 3924300"/>
                <a:gd name="connsiteX30" fmla="*/ 4393730 w 4876790"/>
                <a:gd name="connsiteY30" fmla="*/ 3733800 h 3924300"/>
                <a:gd name="connsiteX31" fmla="*/ 483070 w 4876790"/>
                <a:gd name="connsiteY31" fmla="*/ 3733800 h 3924300"/>
                <a:gd name="connsiteX32" fmla="*/ 190500 w 4876790"/>
                <a:gd name="connsiteY32" fmla="*/ 3441221 h 3924300"/>
                <a:gd name="connsiteX33" fmla="*/ 190500 w 4876790"/>
                <a:gd name="connsiteY33" fmla="*/ 1092679 h 3924300"/>
                <a:gd name="connsiteX34" fmla="*/ 483070 w 4876790"/>
                <a:gd name="connsiteY34" fmla="*/ 800100 h 3924300"/>
                <a:gd name="connsiteX35" fmla="*/ 4393721 w 4876790"/>
                <a:gd name="connsiteY35" fmla="*/ 800100 h 3924300"/>
                <a:gd name="connsiteX36" fmla="*/ 4686291 w 4876790"/>
                <a:gd name="connsiteY36" fmla="*/ 1092679 h 3924300"/>
                <a:gd name="connsiteX37" fmla="*/ 4686291 w 4876790"/>
                <a:gd name="connsiteY37" fmla="*/ 3441221 h 39243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4876790" h="3924300">
                  <a:moveTo>
                    <a:pt x="4393730" y="609600"/>
                  </a:moveTo>
                  <a:lnTo>
                    <a:pt x="4103980" y="609600"/>
                  </a:lnTo>
                  <a:lnTo>
                    <a:pt x="3771414" y="46796"/>
                  </a:lnTo>
                  <a:cubicBezTo>
                    <a:pt x="3754279" y="17793"/>
                    <a:pt x="3723094" y="0"/>
                    <a:pt x="3689414" y="0"/>
                  </a:cubicBezTo>
                  <a:lnTo>
                    <a:pt x="2368610" y="0"/>
                  </a:lnTo>
                  <a:cubicBezTo>
                    <a:pt x="2334921" y="0"/>
                    <a:pt x="2303745" y="17793"/>
                    <a:pt x="2286610" y="46796"/>
                  </a:cubicBezTo>
                  <a:lnTo>
                    <a:pt x="1954044" y="609600"/>
                  </a:lnTo>
                  <a:lnTo>
                    <a:pt x="1409700" y="609600"/>
                  </a:lnTo>
                  <a:lnTo>
                    <a:pt x="1409700" y="495300"/>
                  </a:lnTo>
                  <a:cubicBezTo>
                    <a:pt x="1409700" y="306219"/>
                    <a:pt x="1255881" y="152400"/>
                    <a:pt x="1066800" y="152400"/>
                  </a:cubicBezTo>
                  <a:cubicBezTo>
                    <a:pt x="877719" y="152400"/>
                    <a:pt x="723900" y="306219"/>
                    <a:pt x="723900" y="495300"/>
                  </a:cubicBezTo>
                  <a:lnTo>
                    <a:pt x="723900" y="609600"/>
                  </a:lnTo>
                  <a:lnTo>
                    <a:pt x="483070" y="609600"/>
                  </a:lnTo>
                  <a:cubicBezTo>
                    <a:pt x="216703" y="609600"/>
                    <a:pt x="0" y="826303"/>
                    <a:pt x="0" y="1092679"/>
                  </a:cubicBezTo>
                  <a:lnTo>
                    <a:pt x="0" y="3441221"/>
                  </a:lnTo>
                  <a:cubicBezTo>
                    <a:pt x="0" y="3707597"/>
                    <a:pt x="216703" y="3924300"/>
                    <a:pt x="483070" y="3924300"/>
                  </a:cubicBezTo>
                  <a:lnTo>
                    <a:pt x="4393721" y="3924300"/>
                  </a:lnTo>
                  <a:cubicBezTo>
                    <a:pt x="4660087" y="3924300"/>
                    <a:pt x="4876791" y="3707597"/>
                    <a:pt x="4876791" y="3441221"/>
                  </a:cubicBezTo>
                  <a:lnTo>
                    <a:pt x="4876791" y="1092679"/>
                  </a:lnTo>
                  <a:cubicBezTo>
                    <a:pt x="4876800" y="826303"/>
                    <a:pt x="4660087" y="609600"/>
                    <a:pt x="4393730" y="609600"/>
                  </a:cubicBezTo>
                  <a:close/>
                  <a:moveTo>
                    <a:pt x="2422960" y="190500"/>
                  </a:moveTo>
                  <a:lnTo>
                    <a:pt x="3635054" y="190500"/>
                  </a:lnTo>
                  <a:lnTo>
                    <a:pt x="3882704" y="609600"/>
                  </a:lnTo>
                  <a:lnTo>
                    <a:pt x="2175310" y="609600"/>
                  </a:lnTo>
                  <a:close/>
                  <a:moveTo>
                    <a:pt x="914400" y="495300"/>
                  </a:moveTo>
                  <a:cubicBezTo>
                    <a:pt x="914400" y="411270"/>
                    <a:pt x="982770" y="342900"/>
                    <a:pt x="1066800" y="342900"/>
                  </a:cubicBezTo>
                  <a:cubicBezTo>
                    <a:pt x="1150830" y="342900"/>
                    <a:pt x="1219200" y="411270"/>
                    <a:pt x="1219200" y="495300"/>
                  </a:cubicBezTo>
                  <a:lnTo>
                    <a:pt x="1219200" y="609600"/>
                  </a:lnTo>
                  <a:lnTo>
                    <a:pt x="914400" y="609600"/>
                  </a:lnTo>
                  <a:close/>
                  <a:moveTo>
                    <a:pt x="4686300" y="3441221"/>
                  </a:moveTo>
                  <a:cubicBezTo>
                    <a:pt x="4686300" y="3602555"/>
                    <a:pt x="4555055" y="3733800"/>
                    <a:pt x="4393730" y="3733800"/>
                  </a:cubicBezTo>
                  <a:lnTo>
                    <a:pt x="483070" y="3733800"/>
                  </a:lnTo>
                  <a:cubicBezTo>
                    <a:pt x="321745" y="3733800"/>
                    <a:pt x="190500" y="3602546"/>
                    <a:pt x="190500" y="3441221"/>
                  </a:cubicBezTo>
                  <a:lnTo>
                    <a:pt x="190500" y="1092679"/>
                  </a:lnTo>
                  <a:cubicBezTo>
                    <a:pt x="190500" y="931345"/>
                    <a:pt x="321745" y="800100"/>
                    <a:pt x="483070" y="800100"/>
                  </a:cubicBezTo>
                  <a:lnTo>
                    <a:pt x="4393721" y="800100"/>
                  </a:lnTo>
                  <a:cubicBezTo>
                    <a:pt x="4555046" y="800100"/>
                    <a:pt x="4686291" y="931345"/>
                    <a:pt x="4686291" y="1092679"/>
                  </a:cubicBezTo>
                  <a:lnTo>
                    <a:pt x="4686291" y="3441221"/>
                  </a:lnTo>
                  <a:close/>
                </a:path>
              </a:pathLst>
            </a:custGeom>
            <a:solidFill>
              <a:srgbClr val="00B05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342905"/>
              <a:endParaRPr lang="ru-RU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0" name="Freeform: Shape 49">
              <a:extLst>
                <a:ext uri="{FF2B5EF4-FFF2-40B4-BE49-F238E27FC236}">
                  <a16:creationId xmlns:a16="http://schemas.microsoft.com/office/drawing/2014/main" id="{A96B34E7-F0C2-4656-B868-F365C664ED67}"/>
                </a:ext>
              </a:extLst>
            </p:cNvPr>
            <p:cNvSpPr/>
            <p:nvPr/>
          </p:nvSpPr>
          <p:spPr>
            <a:xfrm>
              <a:off x="7215244" y="4183135"/>
              <a:ext cx="471487" cy="471487"/>
            </a:xfrm>
            <a:custGeom>
              <a:avLst/>
              <a:gdLst>
                <a:gd name="connsiteX0" fmla="*/ 95250 w 471487"/>
                <a:gd name="connsiteY0" fmla="*/ 190500 h 471487"/>
                <a:gd name="connsiteX1" fmla="*/ 280988 w 471487"/>
                <a:gd name="connsiteY1" fmla="*/ 376238 h 471487"/>
                <a:gd name="connsiteX2" fmla="*/ 376238 w 471487"/>
                <a:gd name="connsiteY2" fmla="*/ 471488 h 471487"/>
                <a:gd name="connsiteX3" fmla="*/ 471488 w 471487"/>
                <a:gd name="connsiteY3" fmla="*/ 376238 h 471487"/>
                <a:gd name="connsiteX4" fmla="*/ 95250 w 471487"/>
                <a:gd name="connsiteY4" fmla="*/ 0 h 471487"/>
                <a:gd name="connsiteX5" fmla="*/ 0 w 471487"/>
                <a:gd name="connsiteY5" fmla="*/ 95250 h 471487"/>
                <a:gd name="connsiteX6" fmla="*/ 95250 w 471487"/>
                <a:gd name="connsiteY6" fmla="*/ 190500 h 4714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71487" h="471487">
                  <a:moveTo>
                    <a:pt x="95250" y="190500"/>
                  </a:moveTo>
                  <a:cubicBezTo>
                    <a:pt x="197672" y="190500"/>
                    <a:pt x="280988" y="273825"/>
                    <a:pt x="280988" y="376238"/>
                  </a:cubicBezTo>
                  <a:cubicBezTo>
                    <a:pt x="280988" y="428844"/>
                    <a:pt x="323631" y="471488"/>
                    <a:pt x="376238" y="471488"/>
                  </a:cubicBezTo>
                  <a:cubicBezTo>
                    <a:pt x="428844" y="471488"/>
                    <a:pt x="471488" y="428844"/>
                    <a:pt x="471488" y="376238"/>
                  </a:cubicBezTo>
                  <a:cubicBezTo>
                    <a:pt x="471488" y="168783"/>
                    <a:pt x="302705" y="0"/>
                    <a:pt x="95250" y="0"/>
                  </a:cubicBezTo>
                  <a:cubicBezTo>
                    <a:pt x="42643" y="0"/>
                    <a:pt x="0" y="42653"/>
                    <a:pt x="0" y="95250"/>
                  </a:cubicBezTo>
                  <a:cubicBezTo>
                    <a:pt x="0" y="147847"/>
                    <a:pt x="42643" y="190500"/>
                    <a:pt x="95250" y="190500"/>
                  </a:cubicBezTo>
                  <a:close/>
                </a:path>
              </a:pathLst>
            </a:custGeom>
            <a:solidFill>
              <a:srgbClr val="00B05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342905"/>
              <a:endParaRPr lang="ru-RU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1" name="Freeform: Shape 50">
              <a:extLst>
                <a:ext uri="{FF2B5EF4-FFF2-40B4-BE49-F238E27FC236}">
                  <a16:creationId xmlns:a16="http://schemas.microsoft.com/office/drawing/2014/main" id="{02F25F42-86CB-495F-8944-B0A9BA120DFF}"/>
                </a:ext>
              </a:extLst>
            </p:cNvPr>
            <p:cNvSpPr/>
            <p:nvPr/>
          </p:nvSpPr>
          <p:spPr>
            <a:xfrm>
              <a:off x="7215244" y="1342951"/>
              <a:ext cx="190500" cy="698877"/>
            </a:xfrm>
            <a:custGeom>
              <a:avLst/>
              <a:gdLst>
                <a:gd name="connsiteX0" fmla="*/ 95250 w 190500"/>
                <a:gd name="connsiteY0" fmla="*/ 698878 h 698877"/>
                <a:gd name="connsiteX1" fmla="*/ 190500 w 190500"/>
                <a:gd name="connsiteY1" fmla="*/ 603628 h 698877"/>
                <a:gd name="connsiteX2" fmla="*/ 190500 w 190500"/>
                <a:gd name="connsiteY2" fmla="*/ 95250 h 698877"/>
                <a:gd name="connsiteX3" fmla="*/ 95250 w 190500"/>
                <a:gd name="connsiteY3" fmla="*/ 0 h 698877"/>
                <a:gd name="connsiteX4" fmla="*/ 0 w 190500"/>
                <a:gd name="connsiteY4" fmla="*/ 95250 h 698877"/>
                <a:gd name="connsiteX5" fmla="*/ 0 w 190500"/>
                <a:gd name="connsiteY5" fmla="*/ 603628 h 698877"/>
                <a:gd name="connsiteX6" fmla="*/ 95250 w 190500"/>
                <a:gd name="connsiteY6" fmla="*/ 698878 h 6988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90500" h="698877">
                  <a:moveTo>
                    <a:pt x="95250" y="698878"/>
                  </a:moveTo>
                  <a:cubicBezTo>
                    <a:pt x="147856" y="698878"/>
                    <a:pt x="190500" y="656225"/>
                    <a:pt x="190500" y="603628"/>
                  </a:cubicBezTo>
                  <a:lnTo>
                    <a:pt x="190500" y="95250"/>
                  </a:lnTo>
                  <a:cubicBezTo>
                    <a:pt x="190500" y="42653"/>
                    <a:pt x="147856" y="0"/>
                    <a:pt x="95250" y="0"/>
                  </a:cubicBezTo>
                  <a:cubicBezTo>
                    <a:pt x="42643" y="0"/>
                    <a:pt x="0" y="42643"/>
                    <a:pt x="0" y="95250"/>
                  </a:cubicBezTo>
                  <a:lnTo>
                    <a:pt x="0" y="603628"/>
                  </a:lnTo>
                  <a:cubicBezTo>
                    <a:pt x="0" y="656234"/>
                    <a:pt x="42643" y="698878"/>
                    <a:pt x="95250" y="698878"/>
                  </a:cubicBezTo>
                  <a:close/>
                </a:path>
              </a:pathLst>
            </a:custGeom>
            <a:solidFill>
              <a:srgbClr val="00B05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342905"/>
              <a:endParaRPr lang="ru-RU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2" name="Freeform: Shape 51">
              <a:extLst>
                <a:ext uri="{FF2B5EF4-FFF2-40B4-BE49-F238E27FC236}">
                  <a16:creationId xmlns:a16="http://schemas.microsoft.com/office/drawing/2014/main" id="{B15B559B-CBA3-49BA-897F-A5ADF9E566A4}"/>
                </a:ext>
              </a:extLst>
            </p:cNvPr>
            <p:cNvSpPr/>
            <p:nvPr/>
          </p:nvSpPr>
          <p:spPr>
            <a:xfrm>
              <a:off x="7668493" y="1501847"/>
              <a:ext cx="539975" cy="539981"/>
            </a:xfrm>
            <a:custGeom>
              <a:avLst/>
              <a:gdLst>
                <a:gd name="connsiteX0" fmla="*/ 95248 w 539975"/>
                <a:gd name="connsiteY0" fmla="*/ 539982 h 539981"/>
                <a:gd name="connsiteX1" fmla="*/ 162599 w 539975"/>
                <a:gd name="connsiteY1" fmla="*/ 512083 h 539981"/>
                <a:gd name="connsiteX2" fmla="*/ 512081 w 539975"/>
                <a:gd name="connsiteY2" fmla="*/ 162601 h 539981"/>
                <a:gd name="connsiteX3" fmla="*/ 512071 w 539975"/>
                <a:gd name="connsiteY3" fmla="*/ 27889 h 539981"/>
                <a:gd name="connsiteX4" fmla="*/ 377369 w 539975"/>
                <a:gd name="connsiteY4" fmla="*/ 27889 h 539981"/>
                <a:gd name="connsiteX5" fmla="*/ 27896 w 539975"/>
                <a:gd name="connsiteY5" fmla="*/ 377381 h 539981"/>
                <a:gd name="connsiteX6" fmla="*/ 27896 w 539975"/>
                <a:gd name="connsiteY6" fmla="*/ 512093 h 539981"/>
                <a:gd name="connsiteX7" fmla="*/ 95248 w 539975"/>
                <a:gd name="connsiteY7" fmla="*/ 539982 h 5399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39975" h="539981">
                  <a:moveTo>
                    <a:pt x="95248" y="539982"/>
                  </a:moveTo>
                  <a:cubicBezTo>
                    <a:pt x="119622" y="539982"/>
                    <a:pt x="144006" y="530676"/>
                    <a:pt x="162599" y="512083"/>
                  </a:cubicBezTo>
                  <a:lnTo>
                    <a:pt x="512081" y="162601"/>
                  </a:lnTo>
                  <a:cubicBezTo>
                    <a:pt x="549276" y="125406"/>
                    <a:pt x="549276" y="65094"/>
                    <a:pt x="512071" y="27889"/>
                  </a:cubicBezTo>
                  <a:cubicBezTo>
                    <a:pt x="474876" y="-9296"/>
                    <a:pt x="414564" y="-9296"/>
                    <a:pt x="377369" y="27889"/>
                  </a:cubicBezTo>
                  <a:lnTo>
                    <a:pt x="27896" y="377381"/>
                  </a:lnTo>
                  <a:cubicBezTo>
                    <a:pt x="-9299" y="414576"/>
                    <a:pt x="-9299" y="474888"/>
                    <a:pt x="27896" y="512093"/>
                  </a:cubicBezTo>
                  <a:cubicBezTo>
                    <a:pt x="46499" y="530685"/>
                    <a:pt x="70873" y="539982"/>
                    <a:pt x="95248" y="539982"/>
                  </a:cubicBezTo>
                  <a:close/>
                </a:path>
              </a:pathLst>
            </a:custGeom>
            <a:solidFill>
              <a:srgbClr val="00B05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342905"/>
              <a:endParaRPr lang="ru-RU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3" name="Freeform: Shape 52">
              <a:extLst>
                <a:ext uri="{FF2B5EF4-FFF2-40B4-BE49-F238E27FC236}">
                  <a16:creationId xmlns:a16="http://schemas.microsoft.com/office/drawing/2014/main" id="{3D4D5285-C3E4-4F36-A1E6-7E35454D5E0F}"/>
                </a:ext>
              </a:extLst>
            </p:cNvPr>
            <p:cNvSpPr/>
            <p:nvPr/>
          </p:nvSpPr>
          <p:spPr>
            <a:xfrm>
              <a:off x="6412522" y="1501860"/>
              <a:ext cx="539977" cy="539978"/>
            </a:xfrm>
            <a:custGeom>
              <a:avLst/>
              <a:gdLst>
                <a:gd name="connsiteX0" fmla="*/ 377373 w 539977"/>
                <a:gd name="connsiteY0" fmla="*/ 512079 h 539978"/>
                <a:gd name="connsiteX1" fmla="*/ 444725 w 539977"/>
                <a:gd name="connsiteY1" fmla="*/ 539978 h 539978"/>
                <a:gd name="connsiteX2" fmla="*/ 512076 w 539977"/>
                <a:gd name="connsiteY2" fmla="*/ 512079 h 539978"/>
                <a:gd name="connsiteX3" fmla="*/ 512086 w 539977"/>
                <a:gd name="connsiteY3" fmla="*/ 377367 h 539978"/>
                <a:gd name="connsiteX4" fmla="*/ 162604 w 539977"/>
                <a:gd name="connsiteY4" fmla="*/ 27886 h 539978"/>
                <a:gd name="connsiteX5" fmla="*/ 27901 w 539977"/>
                <a:gd name="connsiteY5" fmla="*/ 27886 h 539978"/>
                <a:gd name="connsiteX6" fmla="*/ 27892 w 539977"/>
                <a:gd name="connsiteY6" fmla="*/ 162598 h 5399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39977" h="539978">
                  <a:moveTo>
                    <a:pt x="377373" y="512079"/>
                  </a:moveTo>
                  <a:cubicBezTo>
                    <a:pt x="395976" y="530672"/>
                    <a:pt x="420350" y="539978"/>
                    <a:pt x="444725" y="539978"/>
                  </a:cubicBezTo>
                  <a:cubicBezTo>
                    <a:pt x="469099" y="539978"/>
                    <a:pt x="493483" y="530672"/>
                    <a:pt x="512076" y="512079"/>
                  </a:cubicBezTo>
                  <a:cubicBezTo>
                    <a:pt x="549271" y="474884"/>
                    <a:pt x="549281" y="414572"/>
                    <a:pt x="512086" y="377367"/>
                  </a:cubicBezTo>
                  <a:lnTo>
                    <a:pt x="162604" y="27886"/>
                  </a:lnTo>
                  <a:cubicBezTo>
                    <a:pt x="125409" y="-9290"/>
                    <a:pt x="65096" y="-9300"/>
                    <a:pt x="27901" y="27886"/>
                  </a:cubicBezTo>
                  <a:cubicBezTo>
                    <a:pt x="-9294" y="65081"/>
                    <a:pt x="-9304" y="125393"/>
                    <a:pt x="27892" y="162598"/>
                  </a:cubicBezTo>
                  <a:close/>
                </a:path>
              </a:pathLst>
            </a:custGeom>
            <a:solidFill>
              <a:srgbClr val="00B05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342905"/>
              <a:endParaRPr lang="ru-RU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4" name="Freeform: Shape 53">
              <a:extLst>
                <a:ext uri="{FF2B5EF4-FFF2-40B4-BE49-F238E27FC236}">
                  <a16:creationId xmlns:a16="http://schemas.microsoft.com/office/drawing/2014/main" id="{B573E8EB-C0AD-46FA-B558-35D1741D91DC}"/>
                </a:ext>
              </a:extLst>
            </p:cNvPr>
            <p:cNvSpPr/>
            <p:nvPr/>
          </p:nvSpPr>
          <p:spPr>
            <a:xfrm>
              <a:off x="5005387" y="3683072"/>
              <a:ext cx="685800" cy="190500"/>
            </a:xfrm>
            <a:custGeom>
              <a:avLst/>
              <a:gdLst>
                <a:gd name="connsiteX0" fmla="*/ 590550 w 685800"/>
                <a:gd name="connsiteY0" fmla="*/ 0 h 190500"/>
                <a:gd name="connsiteX1" fmla="*/ 95250 w 685800"/>
                <a:gd name="connsiteY1" fmla="*/ 0 h 190500"/>
                <a:gd name="connsiteX2" fmla="*/ 0 w 685800"/>
                <a:gd name="connsiteY2" fmla="*/ 95250 h 190500"/>
                <a:gd name="connsiteX3" fmla="*/ 95250 w 685800"/>
                <a:gd name="connsiteY3" fmla="*/ 190500 h 190500"/>
                <a:gd name="connsiteX4" fmla="*/ 590550 w 685800"/>
                <a:gd name="connsiteY4" fmla="*/ 190500 h 190500"/>
                <a:gd name="connsiteX5" fmla="*/ 685800 w 685800"/>
                <a:gd name="connsiteY5" fmla="*/ 95250 h 190500"/>
                <a:gd name="connsiteX6" fmla="*/ 590550 w 685800"/>
                <a:gd name="connsiteY6" fmla="*/ 0 h 190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85800" h="190500">
                  <a:moveTo>
                    <a:pt x="590550" y="0"/>
                  </a:moveTo>
                  <a:lnTo>
                    <a:pt x="95250" y="0"/>
                  </a:lnTo>
                  <a:cubicBezTo>
                    <a:pt x="42643" y="0"/>
                    <a:pt x="0" y="42653"/>
                    <a:pt x="0" y="95250"/>
                  </a:cubicBezTo>
                  <a:cubicBezTo>
                    <a:pt x="0" y="147857"/>
                    <a:pt x="42643" y="190500"/>
                    <a:pt x="95250" y="190500"/>
                  </a:cubicBezTo>
                  <a:lnTo>
                    <a:pt x="590550" y="190500"/>
                  </a:lnTo>
                  <a:cubicBezTo>
                    <a:pt x="643157" y="190500"/>
                    <a:pt x="685800" y="147857"/>
                    <a:pt x="685800" y="95250"/>
                  </a:cubicBezTo>
                  <a:cubicBezTo>
                    <a:pt x="685800" y="42643"/>
                    <a:pt x="643157" y="0"/>
                    <a:pt x="590550" y="0"/>
                  </a:cubicBezTo>
                  <a:close/>
                </a:path>
              </a:pathLst>
            </a:custGeom>
            <a:solidFill>
              <a:srgbClr val="00B05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342905"/>
              <a:endParaRPr lang="ru-RU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55" name="Freeform: Shape 54">
              <a:extLst>
                <a:ext uri="{FF2B5EF4-FFF2-40B4-BE49-F238E27FC236}">
                  <a16:creationId xmlns:a16="http://schemas.microsoft.com/office/drawing/2014/main" id="{D239BC6F-92D9-4F4C-9E99-9018352B6C3D}"/>
                </a:ext>
              </a:extLst>
            </p:cNvPr>
            <p:cNvSpPr/>
            <p:nvPr/>
          </p:nvSpPr>
          <p:spPr>
            <a:xfrm>
              <a:off x="6433756" y="3683062"/>
              <a:ext cx="190500" cy="190500"/>
            </a:xfrm>
            <a:custGeom>
              <a:avLst/>
              <a:gdLst>
                <a:gd name="connsiteX0" fmla="*/ 95250 w 190500"/>
                <a:gd name="connsiteY0" fmla="*/ 190500 h 190500"/>
                <a:gd name="connsiteX1" fmla="*/ 162592 w 190500"/>
                <a:gd name="connsiteY1" fmla="*/ 162592 h 190500"/>
                <a:gd name="connsiteX2" fmla="*/ 190500 w 190500"/>
                <a:gd name="connsiteY2" fmla="*/ 95250 h 190500"/>
                <a:gd name="connsiteX3" fmla="*/ 162592 w 190500"/>
                <a:gd name="connsiteY3" fmla="*/ 27908 h 190500"/>
                <a:gd name="connsiteX4" fmla="*/ 95250 w 190500"/>
                <a:gd name="connsiteY4" fmla="*/ 0 h 190500"/>
                <a:gd name="connsiteX5" fmla="*/ 27908 w 190500"/>
                <a:gd name="connsiteY5" fmla="*/ 27908 h 190500"/>
                <a:gd name="connsiteX6" fmla="*/ 0 w 190500"/>
                <a:gd name="connsiteY6" fmla="*/ 95250 h 190500"/>
                <a:gd name="connsiteX7" fmla="*/ 27908 w 190500"/>
                <a:gd name="connsiteY7" fmla="*/ 162592 h 190500"/>
                <a:gd name="connsiteX8" fmla="*/ 95250 w 190500"/>
                <a:gd name="connsiteY8" fmla="*/ 190500 h 190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90500" h="190500">
                  <a:moveTo>
                    <a:pt x="95250" y="190500"/>
                  </a:moveTo>
                  <a:cubicBezTo>
                    <a:pt x="120301" y="190500"/>
                    <a:pt x="144875" y="180308"/>
                    <a:pt x="162592" y="162592"/>
                  </a:cubicBezTo>
                  <a:cubicBezTo>
                    <a:pt x="180308" y="144875"/>
                    <a:pt x="190500" y="120387"/>
                    <a:pt x="190500" y="95250"/>
                  </a:cubicBezTo>
                  <a:cubicBezTo>
                    <a:pt x="190500" y="70199"/>
                    <a:pt x="180308" y="45625"/>
                    <a:pt x="162592" y="27908"/>
                  </a:cubicBezTo>
                  <a:cubicBezTo>
                    <a:pt x="144875" y="10201"/>
                    <a:pt x="120301" y="0"/>
                    <a:pt x="95250" y="0"/>
                  </a:cubicBezTo>
                  <a:cubicBezTo>
                    <a:pt x="70199" y="0"/>
                    <a:pt x="45625" y="10192"/>
                    <a:pt x="27908" y="27908"/>
                  </a:cubicBezTo>
                  <a:cubicBezTo>
                    <a:pt x="10096" y="45625"/>
                    <a:pt x="0" y="70209"/>
                    <a:pt x="0" y="95250"/>
                  </a:cubicBezTo>
                  <a:cubicBezTo>
                    <a:pt x="0" y="120301"/>
                    <a:pt x="10096" y="144875"/>
                    <a:pt x="27908" y="162592"/>
                  </a:cubicBezTo>
                  <a:cubicBezTo>
                    <a:pt x="45625" y="180308"/>
                    <a:pt x="70104" y="190500"/>
                    <a:pt x="95250" y="190500"/>
                  </a:cubicBezTo>
                  <a:close/>
                </a:path>
              </a:pathLst>
            </a:custGeom>
            <a:solidFill>
              <a:srgbClr val="00B05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342905"/>
              <a:endParaRPr lang="ru-RU">
                <a:solidFill>
                  <a:prstClr val="black"/>
                </a:solidFill>
                <a:latin typeface="Calibri" panose="020F0502020204030204"/>
              </a:endParaRPr>
            </a:p>
          </p:txBody>
        </p:sp>
      </p:grpSp>
      <p:grpSp>
        <p:nvGrpSpPr>
          <p:cNvPr id="72" name="Graphic 208">
            <a:extLst>
              <a:ext uri="{FF2B5EF4-FFF2-40B4-BE49-F238E27FC236}">
                <a16:creationId xmlns:a16="http://schemas.microsoft.com/office/drawing/2014/main" id="{617176DB-FDBA-43CA-9883-C9FCC912BD33}"/>
              </a:ext>
            </a:extLst>
          </p:cNvPr>
          <p:cNvGrpSpPr/>
          <p:nvPr/>
        </p:nvGrpSpPr>
        <p:grpSpPr>
          <a:xfrm>
            <a:off x="3768728" y="3313477"/>
            <a:ext cx="224749" cy="242010"/>
            <a:chOff x="4455413" y="1341437"/>
            <a:chExt cx="4528956" cy="4876800"/>
          </a:xfrm>
          <a:solidFill>
            <a:srgbClr val="F8FBF4"/>
          </a:solidFill>
        </p:grpSpPr>
        <p:grpSp>
          <p:nvGrpSpPr>
            <p:cNvPr id="73" name="Graphic 208">
              <a:extLst>
                <a:ext uri="{FF2B5EF4-FFF2-40B4-BE49-F238E27FC236}">
                  <a16:creationId xmlns:a16="http://schemas.microsoft.com/office/drawing/2014/main" id="{0C576252-520F-4A22-92F9-01179A41370E}"/>
                </a:ext>
              </a:extLst>
            </p:cNvPr>
            <p:cNvGrpSpPr/>
            <p:nvPr/>
          </p:nvGrpSpPr>
          <p:grpSpPr>
            <a:xfrm>
              <a:off x="4455413" y="1341437"/>
              <a:ext cx="4528956" cy="4876800"/>
              <a:chOff x="4455413" y="1341437"/>
              <a:chExt cx="4528956" cy="4876800"/>
            </a:xfrm>
            <a:grpFill/>
          </p:grpSpPr>
          <p:sp>
            <p:nvSpPr>
              <p:cNvPr id="75" name="Freeform: Shape 74">
                <a:extLst>
                  <a:ext uri="{FF2B5EF4-FFF2-40B4-BE49-F238E27FC236}">
                    <a16:creationId xmlns:a16="http://schemas.microsoft.com/office/drawing/2014/main" id="{C8376842-6310-48E8-AF5E-AB94800F835E}"/>
                  </a:ext>
                </a:extLst>
              </p:cNvPr>
              <p:cNvSpPr/>
              <p:nvPr/>
            </p:nvSpPr>
            <p:spPr>
              <a:xfrm>
                <a:off x="4864978" y="1722437"/>
                <a:ext cx="2238375" cy="1333500"/>
              </a:xfrm>
              <a:custGeom>
                <a:avLst/>
                <a:gdLst>
                  <a:gd name="connsiteX0" fmla="*/ 0 w 2238375"/>
                  <a:gd name="connsiteY0" fmla="*/ 71438 h 1333500"/>
                  <a:gd name="connsiteX1" fmla="*/ 0 w 2238375"/>
                  <a:gd name="connsiteY1" fmla="*/ 1262063 h 1333500"/>
                  <a:gd name="connsiteX2" fmla="*/ 71438 w 2238375"/>
                  <a:gd name="connsiteY2" fmla="*/ 1333500 h 1333500"/>
                  <a:gd name="connsiteX3" fmla="*/ 2166938 w 2238375"/>
                  <a:gd name="connsiteY3" fmla="*/ 1333500 h 1333500"/>
                  <a:gd name="connsiteX4" fmla="*/ 2238375 w 2238375"/>
                  <a:gd name="connsiteY4" fmla="*/ 1262063 h 1333500"/>
                  <a:gd name="connsiteX5" fmla="*/ 2238375 w 2238375"/>
                  <a:gd name="connsiteY5" fmla="*/ 71438 h 1333500"/>
                  <a:gd name="connsiteX6" fmla="*/ 2166938 w 2238375"/>
                  <a:gd name="connsiteY6" fmla="*/ 0 h 1333500"/>
                  <a:gd name="connsiteX7" fmla="*/ 71438 w 2238375"/>
                  <a:gd name="connsiteY7" fmla="*/ 0 h 1333500"/>
                  <a:gd name="connsiteX8" fmla="*/ 0 w 2238375"/>
                  <a:gd name="connsiteY8" fmla="*/ 71438 h 1333500"/>
                  <a:gd name="connsiteX9" fmla="*/ 1105100 w 2238375"/>
                  <a:gd name="connsiteY9" fmla="*/ 1013679 h 1333500"/>
                  <a:gd name="connsiteX10" fmla="*/ 1156830 w 2238375"/>
                  <a:gd name="connsiteY10" fmla="*/ 1035844 h 1333500"/>
                  <a:gd name="connsiteX11" fmla="*/ 1206094 w 2238375"/>
                  <a:gd name="connsiteY11" fmla="*/ 1016127 h 1333500"/>
                  <a:gd name="connsiteX12" fmla="*/ 1421959 w 2238375"/>
                  <a:gd name="connsiteY12" fmla="*/ 810454 h 1333500"/>
                  <a:gd name="connsiteX13" fmla="*/ 1676219 w 2238375"/>
                  <a:gd name="connsiteY13" fmla="*/ 1190625 h 1333500"/>
                  <a:gd name="connsiteX14" fmla="*/ 637413 w 2238375"/>
                  <a:gd name="connsiteY14" fmla="*/ 1190625 h 1333500"/>
                  <a:gd name="connsiteX15" fmla="*/ 1156859 w 2238375"/>
                  <a:gd name="connsiteY15" fmla="*/ 738188 h 1333500"/>
                  <a:gd name="connsiteX16" fmla="*/ 1276131 w 2238375"/>
                  <a:gd name="connsiteY16" fmla="*/ 752046 h 1333500"/>
                  <a:gd name="connsiteX17" fmla="*/ 1107529 w 2238375"/>
                  <a:gd name="connsiteY17" fmla="*/ 912686 h 1333500"/>
                  <a:gd name="connsiteX18" fmla="*/ 1105100 w 2238375"/>
                  <a:gd name="connsiteY18" fmla="*/ 1013679 h 1333500"/>
                  <a:gd name="connsiteX19" fmla="*/ 142875 w 2238375"/>
                  <a:gd name="connsiteY19" fmla="*/ 142875 h 1333500"/>
                  <a:gd name="connsiteX20" fmla="*/ 2095500 w 2238375"/>
                  <a:gd name="connsiteY20" fmla="*/ 142875 h 1333500"/>
                  <a:gd name="connsiteX21" fmla="*/ 2095500 w 2238375"/>
                  <a:gd name="connsiteY21" fmla="*/ 1190625 h 1333500"/>
                  <a:gd name="connsiteX22" fmla="*/ 1820237 w 2238375"/>
                  <a:gd name="connsiteY22" fmla="*/ 1190625 h 1333500"/>
                  <a:gd name="connsiteX23" fmla="*/ 1528629 w 2238375"/>
                  <a:gd name="connsiteY23" fmla="*/ 708822 h 1333500"/>
                  <a:gd name="connsiteX24" fmla="*/ 1724749 w 2238375"/>
                  <a:gd name="connsiteY24" fmla="*/ 521970 h 1333500"/>
                  <a:gd name="connsiteX25" fmla="*/ 1727197 w 2238375"/>
                  <a:gd name="connsiteY25" fmla="*/ 420967 h 1333500"/>
                  <a:gd name="connsiteX26" fmla="*/ 1626194 w 2238375"/>
                  <a:gd name="connsiteY26" fmla="*/ 418519 h 1333500"/>
                  <a:gd name="connsiteX27" fmla="*/ 1394527 w 2238375"/>
                  <a:gd name="connsiteY27" fmla="*/ 639242 h 1333500"/>
                  <a:gd name="connsiteX28" fmla="*/ 1156868 w 2238375"/>
                  <a:gd name="connsiteY28" fmla="*/ 595303 h 1333500"/>
                  <a:gd name="connsiteX29" fmla="*/ 493405 w 2238375"/>
                  <a:gd name="connsiteY29" fmla="*/ 1190615 h 1333500"/>
                  <a:gd name="connsiteX30" fmla="*/ 142885 w 2238375"/>
                  <a:gd name="connsiteY30" fmla="*/ 1190615 h 1333500"/>
                  <a:gd name="connsiteX31" fmla="*/ 142885 w 2238375"/>
                  <a:gd name="connsiteY31" fmla="*/ 142875 h 13335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</a:cxnLst>
                <a:rect l="l" t="t" r="r" b="b"/>
                <a:pathLst>
                  <a:path w="2238375" h="1333500">
                    <a:moveTo>
                      <a:pt x="0" y="71438"/>
                    </a:moveTo>
                    <a:lnTo>
                      <a:pt x="0" y="1262063"/>
                    </a:lnTo>
                    <a:cubicBezTo>
                      <a:pt x="0" y="1301515"/>
                      <a:pt x="31985" y="1333500"/>
                      <a:pt x="71438" y="1333500"/>
                    </a:cubicBezTo>
                    <a:lnTo>
                      <a:pt x="2166938" y="1333500"/>
                    </a:lnTo>
                    <a:cubicBezTo>
                      <a:pt x="2206390" y="1333500"/>
                      <a:pt x="2238375" y="1301515"/>
                      <a:pt x="2238375" y="1262063"/>
                    </a:cubicBezTo>
                    <a:lnTo>
                      <a:pt x="2238375" y="71438"/>
                    </a:lnTo>
                    <a:cubicBezTo>
                      <a:pt x="2238375" y="31985"/>
                      <a:pt x="2206390" y="0"/>
                      <a:pt x="2166938" y="0"/>
                    </a:cubicBezTo>
                    <a:lnTo>
                      <a:pt x="71438" y="0"/>
                    </a:lnTo>
                    <a:cubicBezTo>
                      <a:pt x="31985" y="0"/>
                      <a:pt x="0" y="31985"/>
                      <a:pt x="0" y="71438"/>
                    </a:cubicBezTo>
                    <a:close/>
                    <a:moveTo>
                      <a:pt x="1105100" y="1013679"/>
                    </a:moveTo>
                    <a:cubicBezTo>
                      <a:pt x="1119140" y="1028414"/>
                      <a:pt x="1137971" y="1035844"/>
                      <a:pt x="1156830" y="1035844"/>
                    </a:cubicBezTo>
                    <a:cubicBezTo>
                      <a:pt x="1174537" y="1035844"/>
                      <a:pt x="1192273" y="1029300"/>
                      <a:pt x="1206094" y="1016127"/>
                    </a:cubicBezTo>
                    <a:lnTo>
                      <a:pt x="1421959" y="810454"/>
                    </a:lnTo>
                    <a:cubicBezTo>
                      <a:pt x="1557233" y="890111"/>
                      <a:pt x="1653826" y="1028662"/>
                      <a:pt x="1676219" y="1190625"/>
                    </a:cubicBezTo>
                    <a:lnTo>
                      <a:pt x="637413" y="1190625"/>
                    </a:lnTo>
                    <a:cubicBezTo>
                      <a:pt x="672713" y="935441"/>
                      <a:pt x="892235" y="738188"/>
                      <a:pt x="1156859" y="738188"/>
                    </a:cubicBezTo>
                    <a:cubicBezTo>
                      <a:pt x="1197893" y="738188"/>
                      <a:pt x="1237783" y="743083"/>
                      <a:pt x="1276131" y="752046"/>
                    </a:cubicBezTo>
                    <a:lnTo>
                      <a:pt x="1107529" y="912686"/>
                    </a:lnTo>
                    <a:cubicBezTo>
                      <a:pt x="1078982" y="939898"/>
                      <a:pt x="1077887" y="985123"/>
                      <a:pt x="1105100" y="1013679"/>
                    </a:cubicBezTo>
                    <a:close/>
                    <a:moveTo>
                      <a:pt x="142875" y="142875"/>
                    </a:moveTo>
                    <a:lnTo>
                      <a:pt x="2095500" y="142875"/>
                    </a:lnTo>
                    <a:lnTo>
                      <a:pt x="2095500" y="1190625"/>
                    </a:lnTo>
                    <a:lnTo>
                      <a:pt x="1820237" y="1190625"/>
                    </a:lnTo>
                    <a:cubicBezTo>
                      <a:pt x="1798587" y="990248"/>
                      <a:pt x="1687887" y="816121"/>
                      <a:pt x="1528629" y="708822"/>
                    </a:cubicBezTo>
                    <a:lnTo>
                      <a:pt x="1724749" y="521970"/>
                    </a:lnTo>
                    <a:cubicBezTo>
                      <a:pt x="1753314" y="494757"/>
                      <a:pt x="1754410" y="449532"/>
                      <a:pt x="1727197" y="420967"/>
                    </a:cubicBezTo>
                    <a:cubicBezTo>
                      <a:pt x="1699974" y="392392"/>
                      <a:pt x="1654759" y="391306"/>
                      <a:pt x="1626194" y="418519"/>
                    </a:cubicBezTo>
                    <a:lnTo>
                      <a:pt x="1394527" y="639242"/>
                    </a:lnTo>
                    <a:cubicBezTo>
                      <a:pt x="1320632" y="610953"/>
                      <a:pt x="1240555" y="595303"/>
                      <a:pt x="1156868" y="595303"/>
                    </a:cubicBezTo>
                    <a:cubicBezTo>
                      <a:pt x="813387" y="595303"/>
                      <a:pt x="529523" y="856450"/>
                      <a:pt x="493405" y="1190615"/>
                    </a:cubicBezTo>
                    <a:lnTo>
                      <a:pt x="142885" y="1190615"/>
                    </a:lnTo>
                    <a:lnTo>
                      <a:pt x="142885" y="142875"/>
                    </a:lnTo>
                    <a:close/>
                  </a:path>
                </a:pathLst>
              </a:custGeom>
              <a:solidFill>
                <a:srgbClr val="00338D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342905"/>
                <a:endParaRPr lang="ru-RU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76" name="Freeform: Shape 75">
                <a:extLst>
                  <a:ext uri="{FF2B5EF4-FFF2-40B4-BE49-F238E27FC236}">
                    <a16:creationId xmlns:a16="http://schemas.microsoft.com/office/drawing/2014/main" id="{0D4819BA-98B6-4D55-9039-2E468E1CCF05}"/>
                  </a:ext>
                </a:extLst>
              </p:cNvPr>
              <p:cNvSpPr/>
              <p:nvPr/>
            </p:nvSpPr>
            <p:spPr>
              <a:xfrm>
                <a:off x="4455413" y="1341437"/>
                <a:ext cx="4528956" cy="4876800"/>
              </a:xfrm>
              <a:custGeom>
                <a:avLst/>
                <a:gdLst>
                  <a:gd name="connsiteX0" fmla="*/ 4457519 w 4528956"/>
                  <a:gd name="connsiteY0" fmla="*/ 779812 h 4876800"/>
                  <a:gd name="connsiteX1" fmla="*/ 4233967 w 4528956"/>
                  <a:gd name="connsiteY1" fmla="*/ 779812 h 4876800"/>
                  <a:gd name="connsiteX2" fmla="*/ 4233967 w 4528956"/>
                  <a:gd name="connsiteY2" fmla="*/ 244478 h 4876800"/>
                  <a:gd name="connsiteX3" fmla="*/ 4162530 w 4528956"/>
                  <a:gd name="connsiteY3" fmla="*/ 173041 h 4876800"/>
                  <a:gd name="connsiteX4" fmla="*/ 4091092 w 4528956"/>
                  <a:gd name="connsiteY4" fmla="*/ 244478 h 4876800"/>
                  <a:gd name="connsiteX5" fmla="*/ 4091092 w 4528956"/>
                  <a:gd name="connsiteY5" fmla="*/ 779812 h 4876800"/>
                  <a:gd name="connsiteX6" fmla="*/ 3775491 w 4528956"/>
                  <a:gd name="connsiteY6" fmla="*/ 779812 h 4876800"/>
                  <a:gd name="connsiteX7" fmla="*/ 3775491 w 4528956"/>
                  <a:gd name="connsiteY7" fmla="*/ 244478 h 4876800"/>
                  <a:gd name="connsiteX8" fmla="*/ 3704053 w 4528956"/>
                  <a:gd name="connsiteY8" fmla="*/ 173041 h 4876800"/>
                  <a:gd name="connsiteX9" fmla="*/ 3632616 w 4528956"/>
                  <a:gd name="connsiteY9" fmla="*/ 244478 h 4876800"/>
                  <a:gd name="connsiteX10" fmla="*/ 3632616 w 4528956"/>
                  <a:gd name="connsiteY10" fmla="*/ 779812 h 4876800"/>
                  <a:gd name="connsiteX11" fmla="*/ 3457747 w 4528956"/>
                  <a:gd name="connsiteY11" fmla="*/ 779812 h 4876800"/>
                  <a:gd name="connsiteX12" fmla="*/ 3386309 w 4528956"/>
                  <a:gd name="connsiteY12" fmla="*/ 851249 h 4876800"/>
                  <a:gd name="connsiteX13" fmla="*/ 3386309 w 4528956"/>
                  <a:gd name="connsiteY13" fmla="*/ 1565272 h 4876800"/>
                  <a:gd name="connsiteX14" fmla="*/ 3743325 w 4528956"/>
                  <a:gd name="connsiteY14" fmla="*/ 1922459 h 4876800"/>
                  <a:gd name="connsiteX15" fmla="*/ 3743325 w 4528956"/>
                  <a:gd name="connsiteY15" fmla="*/ 3526631 h 4876800"/>
                  <a:gd name="connsiteX16" fmla="*/ 3621881 w 4528956"/>
                  <a:gd name="connsiteY16" fmla="*/ 3648075 h 4876800"/>
                  <a:gd name="connsiteX17" fmla="*/ 3500438 w 4528956"/>
                  <a:gd name="connsiteY17" fmla="*/ 3526631 h 4876800"/>
                  <a:gd name="connsiteX18" fmla="*/ 3500438 w 4528956"/>
                  <a:gd name="connsiteY18" fmla="*/ 3017044 h 4876800"/>
                  <a:gd name="connsiteX19" fmla="*/ 2950369 w 4528956"/>
                  <a:gd name="connsiteY19" fmla="*/ 2466975 h 4876800"/>
                  <a:gd name="connsiteX20" fmla="*/ 2647950 w 4528956"/>
                  <a:gd name="connsiteY20" fmla="*/ 2466975 h 4876800"/>
                  <a:gd name="connsiteX21" fmla="*/ 2647950 w 4528956"/>
                  <a:gd name="connsiteY21" fmla="*/ 2095500 h 4876800"/>
                  <a:gd name="connsiteX22" fmla="*/ 2671763 w 4528956"/>
                  <a:gd name="connsiteY22" fmla="*/ 2095500 h 4876800"/>
                  <a:gd name="connsiteX23" fmla="*/ 3028950 w 4528956"/>
                  <a:gd name="connsiteY23" fmla="*/ 1738313 h 4876800"/>
                  <a:gd name="connsiteX24" fmla="*/ 3028950 w 4528956"/>
                  <a:gd name="connsiteY24" fmla="*/ 357188 h 4876800"/>
                  <a:gd name="connsiteX25" fmla="*/ 2671763 w 4528956"/>
                  <a:gd name="connsiteY25" fmla="*/ 0 h 4876800"/>
                  <a:gd name="connsiteX26" fmla="*/ 2420112 w 4528956"/>
                  <a:gd name="connsiteY26" fmla="*/ 0 h 4876800"/>
                  <a:gd name="connsiteX27" fmla="*/ 2348675 w 4528956"/>
                  <a:gd name="connsiteY27" fmla="*/ 71438 h 4876800"/>
                  <a:gd name="connsiteX28" fmla="*/ 2420112 w 4528956"/>
                  <a:gd name="connsiteY28" fmla="*/ 142875 h 4876800"/>
                  <a:gd name="connsiteX29" fmla="*/ 2671763 w 4528956"/>
                  <a:gd name="connsiteY29" fmla="*/ 142875 h 4876800"/>
                  <a:gd name="connsiteX30" fmla="*/ 2886075 w 4528956"/>
                  <a:gd name="connsiteY30" fmla="*/ 357188 h 4876800"/>
                  <a:gd name="connsiteX31" fmla="*/ 2886075 w 4528956"/>
                  <a:gd name="connsiteY31" fmla="*/ 1738313 h 4876800"/>
                  <a:gd name="connsiteX32" fmla="*/ 2671763 w 4528956"/>
                  <a:gd name="connsiteY32" fmla="*/ 1952625 h 4876800"/>
                  <a:gd name="connsiteX33" fmla="*/ 385762 w 4528956"/>
                  <a:gd name="connsiteY33" fmla="*/ 1952625 h 4876800"/>
                  <a:gd name="connsiteX34" fmla="*/ 171450 w 4528956"/>
                  <a:gd name="connsiteY34" fmla="*/ 1738313 h 4876800"/>
                  <a:gd name="connsiteX35" fmla="*/ 171450 w 4528956"/>
                  <a:gd name="connsiteY35" fmla="*/ 357188 h 4876800"/>
                  <a:gd name="connsiteX36" fmla="*/ 385762 w 4528956"/>
                  <a:gd name="connsiteY36" fmla="*/ 142875 h 4876800"/>
                  <a:gd name="connsiteX37" fmla="*/ 2108835 w 4528956"/>
                  <a:gd name="connsiteY37" fmla="*/ 142875 h 4876800"/>
                  <a:gd name="connsiteX38" fmla="*/ 2180273 w 4528956"/>
                  <a:gd name="connsiteY38" fmla="*/ 71438 h 4876800"/>
                  <a:gd name="connsiteX39" fmla="*/ 2108835 w 4528956"/>
                  <a:gd name="connsiteY39" fmla="*/ 0 h 4876800"/>
                  <a:gd name="connsiteX40" fmla="*/ 385762 w 4528956"/>
                  <a:gd name="connsiteY40" fmla="*/ 0 h 4876800"/>
                  <a:gd name="connsiteX41" fmla="*/ 28575 w 4528956"/>
                  <a:gd name="connsiteY41" fmla="*/ 357188 h 4876800"/>
                  <a:gd name="connsiteX42" fmla="*/ 28575 w 4528956"/>
                  <a:gd name="connsiteY42" fmla="*/ 1738313 h 4876800"/>
                  <a:gd name="connsiteX43" fmla="*/ 385762 w 4528956"/>
                  <a:gd name="connsiteY43" fmla="*/ 2095500 h 4876800"/>
                  <a:gd name="connsiteX44" fmla="*/ 409575 w 4528956"/>
                  <a:gd name="connsiteY44" fmla="*/ 2095500 h 4876800"/>
                  <a:gd name="connsiteX45" fmla="*/ 409575 w 4528956"/>
                  <a:gd name="connsiteY45" fmla="*/ 3415189 h 4876800"/>
                  <a:gd name="connsiteX46" fmla="*/ 481013 w 4528956"/>
                  <a:gd name="connsiteY46" fmla="*/ 3486626 h 4876800"/>
                  <a:gd name="connsiteX47" fmla="*/ 552450 w 4528956"/>
                  <a:gd name="connsiteY47" fmla="*/ 3415189 h 4876800"/>
                  <a:gd name="connsiteX48" fmla="*/ 552450 w 4528956"/>
                  <a:gd name="connsiteY48" fmla="*/ 2095500 h 4876800"/>
                  <a:gd name="connsiteX49" fmla="*/ 2505075 w 4528956"/>
                  <a:gd name="connsiteY49" fmla="*/ 2095500 h 4876800"/>
                  <a:gd name="connsiteX50" fmla="*/ 2505075 w 4528956"/>
                  <a:gd name="connsiteY50" fmla="*/ 4257675 h 4876800"/>
                  <a:gd name="connsiteX51" fmla="*/ 552450 w 4528956"/>
                  <a:gd name="connsiteY51" fmla="*/ 4257675 h 4876800"/>
                  <a:gd name="connsiteX52" fmla="*/ 552450 w 4528956"/>
                  <a:gd name="connsiteY52" fmla="*/ 3726561 h 4876800"/>
                  <a:gd name="connsiteX53" fmla="*/ 481013 w 4528956"/>
                  <a:gd name="connsiteY53" fmla="*/ 3655124 h 4876800"/>
                  <a:gd name="connsiteX54" fmla="*/ 409575 w 4528956"/>
                  <a:gd name="connsiteY54" fmla="*/ 3726561 h 4876800"/>
                  <a:gd name="connsiteX55" fmla="*/ 409575 w 4528956"/>
                  <a:gd name="connsiteY55" fmla="*/ 4257675 h 4876800"/>
                  <a:gd name="connsiteX56" fmla="*/ 71438 w 4528956"/>
                  <a:gd name="connsiteY56" fmla="*/ 4257675 h 4876800"/>
                  <a:gd name="connsiteX57" fmla="*/ 0 w 4528956"/>
                  <a:gd name="connsiteY57" fmla="*/ 4329113 h 4876800"/>
                  <a:gd name="connsiteX58" fmla="*/ 0 w 4528956"/>
                  <a:gd name="connsiteY58" fmla="*/ 4805363 h 4876800"/>
                  <a:gd name="connsiteX59" fmla="*/ 71438 w 4528956"/>
                  <a:gd name="connsiteY59" fmla="*/ 4876800 h 4876800"/>
                  <a:gd name="connsiteX60" fmla="*/ 2986088 w 4528956"/>
                  <a:gd name="connsiteY60" fmla="*/ 4876800 h 4876800"/>
                  <a:gd name="connsiteX61" fmla="*/ 3057525 w 4528956"/>
                  <a:gd name="connsiteY61" fmla="*/ 4805363 h 4876800"/>
                  <a:gd name="connsiteX62" fmla="*/ 3057525 w 4528956"/>
                  <a:gd name="connsiteY62" fmla="*/ 4329113 h 4876800"/>
                  <a:gd name="connsiteX63" fmla="*/ 2986088 w 4528956"/>
                  <a:gd name="connsiteY63" fmla="*/ 4257675 h 4876800"/>
                  <a:gd name="connsiteX64" fmla="*/ 2647950 w 4528956"/>
                  <a:gd name="connsiteY64" fmla="*/ 4257675 h 4876800"/>
                  <a:gd name="connsiteX65" fmla="*/ 2647950 w 4528956"/>
                  <a:gd name="connsiteY65" fmla="*/ 2895600 h 4876800"/>
                  <a:gd name="connsiteX66" fmla="*/ 2950369 w 4528956"/>
                  <a:gd name="connsiteY66" fmla="*/ 2895600 h 4876800"/>
                  <a:gd name="connsiteX67" fmla="*/ 3071813 w 4528956"/>
                  <a:gd name="connsiteY67" fmla="*/ 3017044 h 4876800"/>
                  <a:gd name="connsiteX68" fmla="*/ 3071813 w 4528956"/>
                  <a:gd name="connsiteY68" fmla="*/ 3526631 h 4876800"/>
                  <a:gd name="connsiteX69" fmla="*/ 3621881 w 4528956"/>
                  <a:gd name="connsiteY69" fmla="*/ 4076700 h 4876800"/>
                  <a:gd name="connsiteX70" fmla="*/ 4171950 w 4528956"/>
                  <a:gd name="connsiteY70" fmla="*/ 3526631 h 4876800"/>
                  <a:gd name="connsiteX71" fmla="*/ 4171950 w 4528956"/>
                  <a:gd name="connsiteY71" fmla="*/ 2951226 h 4876800"/>
                  <a:gd name="connsiteX72" fmla="*/ 4100513 w 4528956"/>
                  <a:gd name="connsiteY72" fmla="*/ 2879789 h 4876800"/>
                  <a:gd name="connsiteX73" fmla="*/ 4029075 w 4528956"/>
                  <a:gd name="connsiteY73" fmla="*/ 2951226 h 4876800"/>
                  <a:gd name="connsiteX74" fmla="*/ 4029075 w 4528956"/>
                  <a:gd name="connsiteY74" fmla="*/ 3526631 h 4876800"/>
                  <a:gd name="connsiteX75" fmla="*/ 3621881 w 4528956"/>
                  <a:gd name="connsiteY75" fmla="*/ 3933825 h 4876800"/>
                  <a:gd name="connsiteX76" fmla="*/ 3214688 w 4528956"/>
                  <a:gd name="connsiteY76" fmla="*/ 3526631 h 4876800"/>
                  <a:gd name="connsiteX77" fmla="*/ 3214688 w 4528956"/>
                  <a:gd name="connsiteY77" fmla="*/ 3017044 h 4876800"/>
                  <a:gd name="connsiteX78" fmla="*/ 2950369 w 4528956"/>
                  <a:gd name="connsiteY78" fmla="*/ 2752725 h 4876800"/>
                  <a:gd name="connsiteX79" fmla="*/ 2647950 w 4528956"/>
                  <a:gd name="connsiteY79" fmla="*/ 2752725 h 4876800"/>
                  <a:gd name="connsiteX80" fmla="*/ 2647950 w 4528956"/>
                  <a:gd name="connsiteY80" fmla="*/ 2609850 h 4876800"/>
                  <a:gd name="connsiteX81" fmla="*/ 2950369 w 4528956"/>
                  <a:gd name="connsiteY81" fmla="*/ 2609850 h 4876800"/>
                  <a:gd name="connsiteX82" fmla="*/ 3357563 w 4528956"/>
                  <a:gd name="connsiteY82" fmla="*/ 3017044 h 4876800"/>
                  <a:gd name="connsiteX83" fmla="*/ 3357563 w 4528956"/>
                  <a:gd name="connsiteY83" fmla="*/ 3526631 h 4876800"/>
                  <a:gd name="connsiteX84" fmla="*/ 3621881 w 4528956"/>
                  <a:gd name="connsiteY84" fmla="*/ 3790950 h 4876800"/>
                  <a:gd name="connsiteX85" fmla="*/ 3886200 w 4528956"/>
                  <a:gd name="connsiteY85" fmla="*/ 3526631 h 4876800"/>
                  <a:gd name="connsiteX86" fmla="*/ 3886200 w 4528956"/>
                  <a:gd name="connsiteY86" fmla="*/ 1922459 h 4876800"/>
                  <a:gd name="connsiteX87" fmla="*/ 4029075 w 4528956"/>
                  <a:gd name="connsiteY87" fmla="*/ 1922459 h 4876800"/>
                  <a:gd name="connsiteX88" fmla="*/ 4029075 w 4528956"/>
                  <a:gd name="connsiteY88" fmla="*/ 2639844 h 4876800"/>
                  <a:gd name="connsiteX89" fmla="*/ 4100513 w 4528956"/>
                  <a:gd name="connsiteY89" fmla="*/ 2711282 h 4876800"/>
                  <a:gd name="connsiteX90" fmla="*/ 4171950 w 4528956"/>
                  <a:gd name="connsiteY90" fmla="*/ 2639844 h 4876800"/>
                  <a:gd name="connsiteX91" fmla="*/ 4171950 w 4528956"/>
                  <a:gd name="connsiteY91" fmla="*/ 1922450 h 4876800"/>
                  <a:gd name="connsiteX92" fmla="*/ 4528957 w 4528956"/>
                  <a:gd name="connsiteY92" fmla="*/ 1565262 h 4876800"/>
                  <a:gd name="connsiteX93" fmla="*/ 4528957 w 4528956"/>
                  <a:gd name="connsiteY93" fmla="*/ 851249 h 4876800"/>
                  <a:gd name="connsiteX94" fmla="*/ 4457519 w 4528956"/>
                  <a:gd name="connsiteY94" fmla="*/ 779812 h 4876800"/>
                  <a:gd name="connsiteX95" fmla="*/ 2914641 w 4528956"/>
                  <a:gd name="connsiteY95" fmla="*/ 4733925 h 4876800"/>
                  <a:gd name="connsiteX96" fmla="*/ 142865 w 4528956"/>
                  <a:gd name="connsiteY96" fmla="*/ 4733925 h 4876800"/>
                  <a:gd name="connsiteX97" fmla="*/ 142865 w 4528956"/>
                  <a:gd name="connsiteY97" fmla="*/ 4400550 h 4876800"/>
                  <a:gd name="connsiteX98" fmla="*/ 2914641 w 4528956"/>
                  <a:gd name="connsiteY98" fmla="*/ 4400550 h 4876800"/>
                  <a:gd name="connsiteX99" fmla="*/ 4386082 w 4528956"/>
                  <a:gd name="connsiteY99" fmla="*/ 1565272 h 4876800"/>
                  <a:gd name="connsiteX100" fmla="*/ 4171769 w 4528956"/>
                  <a:gd name="connsiteY100" fmla="*/ 1779584 h 4876800"/>
                  <a:gd name="connsiteX101" fmla="*/ 3743497 w 4528956"/>
                  <a:gd name="connsiteY101" fmla="*/ 1779584 h 4876800"/>
                  <a:gd name="connsiteX102" fmla="*/ 3529184 w 4528956"/>
                  <a:gd name="connsiteY102" fmla="*/ 1565272 h 4876800"/>
                  <a:gd name="connsiteX103" fmla="*/ 3529184 w 4528956"/>
                  <a:gd name="connsiteY103" fmla="*/ 922687 h 4876800"/>
                  <a:gd name="connsiteX104" fmla="*/ 4386082 w 4528956"/>
                  <a:gd name="connsiteY104" fmla="*/ 922687 h 48768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</a:cxnLst>
                <a:rect l="l" t="t" r="r" b="b"/>
                <a:pathLst>
                  <a:path w="4528956" h="4876800">
                    <a:moveTo>
                      <a:pt x="4457519" y="779812"/>
                    </a:moveTo>
                    <a:lnTo>
                      <a:pt x="4233967" y="779812"/>
                    </a:lnTo>
                    <a:lnTo>
                      <a:pt x="4233967" y="244478"/>
                    </a:lnTo>
                    <a:cubicBezTo>
                      <a:pt x="4233967" y="205026"/>
                      <a:pt x="4201983" y="173041"/>
                      <a:pt x="4162530" y="173041"/>
                    </a:cubicBezTo>
                    <a:cubicBezTo>
                      <a:pt x="4123077" y="173041"/>
                      <a:pt x="4091092" y="205026"/>
                      <a:pt x="4091092" y="244478"/>
                    </a:cubicBezTo>
                    <a:lnTo>
                      <a:pt x="4091092" y="779812"/>
                    </a:lnTo>
                    <a:lnTo>
                      <a:pt x="3775491" y="779812"/>
                    </a:lnTo>
                    <a:lnTo>
                      <a:pt x="3775491" y="244478"/>
                    </a:lnTo>
                    <a:cubicBezTo>
                      <a:pt x="3775491" y="205026"/>
                      <a:pt x="3743506" y="173041"/>
                      <a:pt x="3704053" y="173041"/>
                    </a:cubicBezTo>
                    <a:cubicBezTo>
                      <a:pt x="3664601" y="173041"/>
                      <a:pt x="3632616" y="205026"/>
                      <a:pt x="3632616" y="244478"/>
                    </a:cubicBezTo>
                    <a:lnTo>
                      <a:pt x="3632616" y="779812"/>
                    </a:lnTo>
                    <a:lnTo>
                      <a:pt x="3457747" y="779812"/>
                    </a:lnTo>
                    <a:cubicBezTo>
                      <a:pt x="3418294" y="779812"/>
                      <a:pt x="3386309" y="811797"/>
                      <a:pt x="3386309" y="851249"/>
                    </a:cubicBezTo>
                    <a:lnTo>
                      <a:pt x="3386309" y="1565272"/>
                    </a:lnTo>
                    <a:cubicBezTo>
                      <a:pt x="3386309" y="1762173"/>
                      <a:pt x="3546443" y="1922364"/>
                      <a:pt x="3743325" y="1922459"/>
                    </a:cubicBezTo>
                    <a:lnTo>
                      <a:pt x="3743325" y="3526631"/>
                    </a:lnTo>
                    <a:cubicBezTo>
                      <a:pt x="3743325" y="3593592"/>
                      <a:pt x="3688842" y="3648075"/>
                      <a:pt x="3621881" y="3648075"/>
                    </a:cubicBezTo>
                    <a:cubicBezTo>
                      <a:pt x="3554921" y="3648075"/>
                      <a:pt x="3500438" y="3593592"/>
                      <a:pt x="3500438" y="3526631"/>
                    </a:cubicBezTo>
                    <a:lnTo>
                      <a:pt x="3500438" y="3017044"/>
                    </a:lnTo>
                    <a:cubicBezTo>
                      <a:pt x="3500438" y="2713739"/>
                      <a:pt x="3253673" y="2466975"/>
                      <a:pt x="2950369" y="2466975"/>
                    </a:cubicBezTo>
                    <a:lnTo>
                      <a:pt x="2647950" y="2466975"/>
                    </a:lnTo>
                    <a:lnTo>
                      <a:pt x="2647950" y="2095500"/>
                    </a:lnTo>
                    <a:lnTo>
                      <a:pt x="2671763" y="2095500"/>
                    </a:lnTo>
                    <a:cubicBezTo>
                      <a:pt x="2868720" y="2095500"/>
                      <a:pt x="3028950" y="1935270"/>
                      <a:pt x="3028950" y="1738313"/>
                    </a:cubicBezTo>
                    <a:lnTo>
                      <a:pt x="3028950" y="357188"/>
                    </a:lnTo>
                    <a:cubicBezTo>
                      <a:pt x="3028950" y="160230"/>
                      <a:pt x="2868720" y="0"/>
                      <a:pt x="2671763" y="0"/>
                    </a:cubicBezTo>
                    <a:lnTo>
                      <a:pt x="2420112" y="0"/>
                    </a:lnTo>
                    <a:cubicBezTo>
                      <a:pt x="2380660" y="0"/>
                      <a:pt x="2348675" y="31985"/>
                      <a:pt x="2348675" y="71438"/>
                    </a:cubicBezTo>
                    <a:cubicBezTo>
                      <a:pt x="2348675" y="110890"/>
                      <a:pt x="2380660" y="142875"/>
                      <a:pt x="2420112" y="142875"/>
                    </a:cubicBezTo>
                    <a:lnTo>
                      <a:pt x="2671763" y="142875"/>
                    </a:lnTo>
                    <a:cubicBezTo>
                      <a:pt x="2789939" y="142875"/>
                      <a:pt x="2886075" y="239011"/>
                      <a:pt x="2886075" y="357188"/>
                    </a:cubicBezTo>
                    <a:lnTo>
                      <a:pt x="2886075" y="1738313"/>
                    </a:lnTo>
                    <a:cubicBezTo>
                      <a:pt x="2886075" y="1856489"/>
                      <a:pt x="2789939" y="1952625"/>
                      <a:pt x="2671763" y="1952625"/>
                    </a:cubicBezTo>
                    <a:lnTo>
                      <a:pt x="385762" y="1952625"/>
                    </a:lnTo>
                    <a:cubicBezTo>
                      <a:pt x="267586" y="1952625"/>
                      <a:pt x="171450" y="1856489"/>
                      <a:pt x="171450" y="1738313"/>
                    </a:cubicBezTo>
                    <a:lnTo>
                      <a:pt x="171450" y="357188"/>
                    </a:lnTo>
                    <a:cubicBezTo>
                      <a:pt x="171450" y="239011"/>
                      <a:pt x="267586" y="142875"/>
                      <a:pt x="385762" y="142875"/>
                    </a:cubicBezTo>
                    <a:lnTo>
                      <a:pt x="2108835" y="142875"/>
                    </a:lnTo>
                    <a:cubicBezTo>
                      <a:pt x="2148288" y="142875"/>
                      <a:pt x="2180273" y="110890"/>
                      <a:pt x="2180273" y="71438"/>
                    </a:cubicBezTo>
                    <a:cubicBezTo>
                      <a:pt x="2180273" y="31985"/>
                      <a:pt x="2148288" y="0"/>
                      <a:pt x="2108835" y="0"/>
                    </a:cubicBezTo>
                    <a:lnTo>
                      <a:pt x="385762" y="0"/>
                    </a:lnTo>
                    <a:cubicBezTo>
                      <a:pt x="188805" y="0"/>
                      <a:pt x="28575" y="160230"/>
                      <a:pt x="28575" y="357188"/>
                    </a:cubicBezTo>
                    <a:lnTo>
                      <a:pt x="28575" y="1738313"/>
                    </a:lnTo>
                    <a:cubicBezTo>
                      <a:pt x="28575" y="1935270"/>
                      <a:pt x="188805" y="2095500"/>
                      <a:pt x="385762" y="2095500"/>
                    </a:cubicBezTo>
                    <a:lnTo>
                      <a:pt x="409575" y="2095500"/>
                    </a:lnTo>
                    <a:lnTo>
                      <a:pt x="409575" y="3415189"/>
                    </a:lnTo>
                    <a:cubicBezTo>
                      <a:pt x="409575" y="3454641"/>
                      <a:pt x="441560" y="3486626"/>
                      <a:pt x="481013" y="3486626"/>
                    </a:cubicBezTo>
                    <a:cubicBezTo>
                      <a:pt x="520465" y="3486626"/>
                      <a:pt x="552450" y="3454641"/>
                      <a:pt x="552450" y="3415189"/>
                    </a:cubicBezTo>
                    <a:lnTo>
                      <a:pt x="552450" y="2095500"/>
                    </a:lnTo>
                    <a:lnTo>
                      <a:pt x="2505075" y="2095500"/>
                    </a:lnTo>
                    <a:lnTo>
                      <a:pt x="2505075" y="4257675"/>
                    </a:lnTo>
                    <a:lnTo>
                      <a:pt x="552450" y="4257675"/>
                    </a:lnTo>
                    <a:lnTo>
                      <a:pt x="552450" y="3726561"/>
                    </a:lnTo>
                    <a:cubicBezTo>
                      <a:pt x="552450" y="3687108"/>
                      <a:pt x="520465" y="3655124"/>
                      <a:pt x="481013" y="3655124"/>
                    </a:cubicBezTo>
                    <a:cubicBezTo>
                      <a:pt x="441560" y="3655124"/>
                      <a:pt x="409575" y="3687108"/>
                      <a:pt x="409575" y="3726561"/>
                    </a:cubicBezTo>
                    <a:lnTo>
                      <a:pt x="409575" y="4257675"/>
                    </a:lnTo>
                    <a:lnTo>
                      <a:pt x="71438" y="4257675"/>
                    </a:lnTo>
                    <a:cubicBezTo>
                      <a:pt x="31985" y="4257675"/>
                      <a:pt x="0" y="4289660"/>
                      <a:pt x="0" y="4329113"/>
                    </a:cubicBezTo>
                    <a:lnTo>
                      <a:pt x="0" y="4805363"/>
                    </a:lnTo>
                    <a:cubicBezTo>
                      <a:pt x="0" y="4844815"/>
                      <a:pt x="31985" y="4876800"/>
                      <a:pt x="71438" y="4876800"/>
                    </a:cubicBezTo>
                    <a:lnTo>
                      <a:pt x="2986088" y="4876800"/>
                    </a:lnTo>
                    <a:cubicBezTo>
                      <a:pt x="3025540" y="4876800"/>
                      <a:pt x="3057525" y="4844815"/>
                      <a:pt x="3057525" y="4805363"/>
                    </a:cubicBezTo>
                    <a:lnTo>
                      <a:pt x="3057525" y="4329113"/>
                    </a:lnTo>
                    <a:cubicBezTo>
                      <a:pt x="3057525" y="4289660"/>
                      <a:pt x="3025540" y="4257675"/>
                      <a:pt x="2986088" y="4257675"/>
                    </a:cubicBezTo>
                    <a:lnTo>
                      <a:pt x="2647950" y="4257675"/>
                    </a:lnTo>
                    <a:lnTo>
                      <a:pt x="2647950" y="2895600"/>
                    </a:lnTo>
                    <a:lnTo>
                      <a:pt x="2950369" y="2895600"/>
                    </a:lnTo>
                    <a:cubicBezTo>
                      <a:pt x="3017330" y="2895600"/>
                      <a:pt x="3071813" y="2950083"/>
                      <a:pt x="3071813" y="3017044"/>
                    </a:cubicBezTo>
                    <a:lnTo>
                      <a:pt x="3071813" y="3526631"/>
                    </a:lnTo>
                    <a:cubicBezTo>
                      <a:pt x="3071813" y="3829936"/>
                      <a:pt x="3318577" y="4076700"/>
                      <a:pt x="3621881" y="4076700"/>
                    </a:cubicBezTo>
                    <a:cubicBezTo>
                      <a:pt x="3925186" y="4076700"/>
                      <a:pt x="4171950" y="3829936"/>
                      <a:pt x="4171950" y="3526631"/>
                    </a:cubicBezTo>
                    <a:lnTo>
                      <a:pt x="4171950" y="2951226"/>
                    </a:lnTo>
                    <a:cubicBezTo>
                      <a:pt x="4171950" y="2911774"/>
                      <a:pt x="4139965" y="2879789"/>
                      <a:pt x="4100513" y="2879789"/>
                    </a:cubicBezTo>
                    <a:cubicBezTo>
                      <a:pt x="4061060" y="2879789"/>
                      <a:pt x="4029075" y="2911774"/>
                      <a:pt x="4029075" y="2951226"/>
                    </a:cubicBezTo>
                    <a:lnTo>
                      <a:pt x="4029075" y="3526631"/>
                    </a:lnTo>
                    <a:cubicBezTo>
                      <a:pt x="4029075" y="3751155"/>
                      <a:pt x="3846405" y="3933825"/>
                      <a:pt x="3621881" y="3933825"/>
                    </a:cubicBezTo>
                    <a:cubicBezTo>
                      <a:pt x="3397358" y="3933825"/>
                      <a:pt x="3214688" y="3751155"/>
                      <a:pt x="3214688" y="3526631"/>
                    </a:cubicBezTo>
                    <a:lnTo>
                      <a:pt x="3214688" y="3017044"/>
                    </a:lnTo>
                    <a:cubicBezTo>
                      <a:pt x="3214688" y="2871302"/>
                      <a:pt x="3096111" y="2752725"/>
                      <a:pt x="2950369" y="2752725"/>
                    </a:cubicBezTo>
                    <a:lnTo>
                      <a:pt x="2647950" y="2752725"/>
                    </a:lnTo>
                    <a:lnTo>
                      <a:pt x="2647950" y="2609850"/>
                    </a:lnTo>
                    <a:lnTo>
                      <a:pt x="2950369" y="2609850"/>
                    </a:lnTo>
                    <a:cubicBezTo>
                      <a:pt x="3174892" y="2609850"/>
                      <a:pt x="3357563" y="2792521"/>
                      <a:pt x="3357563" y="3017044"/>
                    </a:cubicBezTo>
                    <a:lnTo>
                      <a:pt x="3357563" y="3526631"/>
                    </a:lnTo>
                    <a:cubicBezTo>
                      <a:pt x="3357563" y="3672373"/>
                      <a:pt x="3476139" y="3790950"/>
                      <a:pt x="3621881" y="3790950"/>
                    </a:cubicBezTo>
                    <a:cubicBezTo>
                      <a:pt x="3767623" y="3790950"/>
                      <a:pt x="3886200" y="3672373"/>
                      <a:pt x="3886200" y="3526631"/>
                    </a:cubicBezTo>
                    <a:lnTo>
                      <a:pt x="3886200" y="1922459"/>
                    </a:lnTo>
                    <a:lnTo>
                      <a:pt x="4029075" y="1922459"/>
                    </a:lnTo>
                    <a:lnTo>
                      <a:pt x="4029075" y="2639844"/>
                    </a:lnTo>
                    <a:cubicBezTo>
                      <a:pt x="4029075" y="2679297"/>
                      <a:pt x="4061060" y="2711282"/>
                      <a:pt x="4100513" y="2711282"/>
                    </a:cubicBezTo>
                    <a:cubicBezTo>
                      <a:pt x="4139965" y="2711282"/>
                      <a:pt x="4171950" y="2679297"/>
                      <a:pt x="4171950" y="2639844"/>
                    </a:cubicBezTo>
                    <a:lnTo>
                      <a:pt x="4171950" y="1922450"/>
                    </a:lnTo>
                    <a:cubicBezTo>
                      <a:pt x="4368822" y="1922355"/>
                      <a:pt x="4528957" y="1762163"/>
                      <a:pt x="4528957" y="1565262"/>
                    </a:cubicBezTo>
                    <a:lnTo>
                      <a:pt x="4528957" y="851249"/>
                    </a:lnTo>
                    <a:cubicBezTo>
                      <a:pt x="4528957" y="811797"/>
                      <a:pt x="4496972" y="779812"/>
                      <a:pt x="4457519" y="779812"/>
                    </a:cubicBezTo>
                    <a:close/>
                    <a:moveTo>
                      <a:pt x="2914641" y="4733925"/>
                    </a:moveTo>
                    <a:lnTo>
                      <a:pt x="142865" y="4733925"/>
                    </a:lnTo>
                    <a:lnTo>
                      <a:pt x="142865" y="4400550"/>
                    </a:lnTo>
                    <a:lnTo>
                      <a:pt x="2914641" y="4400550"/>
                    </a:lnTo>
                    <a:close/>
                    <a:moveTo>
                      <a:pt x="4386082" y="1565272"/>
                    </a:moveTo>
                    <a:cubicBezTo>
                      <a:pt x="4386082" y="1683449"/>
                      <a:pt x="4289946" y="1779584"/>
                      <a:pt x="4171769" y="1779584"/>
                    </a:cubicBezTo>
                    <a:lnTo>
                      <a:pt x="3743497" y="1779584"/>
                    </a:lnTo>
                    <a:cubicBezTo>
                      <a:pt x="3625320" y="1779584"/>
                      <a:pt x="3529184" y="1683449"/>
                      <a:pt x="3529184" y="1565272"/>
                    </a:cubicBezTo>
                    <a:lnTo>
                      <a:pt x="3529184" y="922687"/>
                    </a:lnTo>
                    <a:lnTo>
                      <a:pt x="4386082" y="922687"/>
                    </a:lnTo>
                    <a:close/>
                  </a:path>
                </a:pathLst>
              </a:custGeom>
              <a:solidFill>
                <a:srgbClr val="00338D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defTabSz="342905"/>
                <a:endParaRPr lang="ru-RU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</p:grp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A129C01C-78FF-4278-ABE8-89F24F789A10}"/>
                </a:ext>
              </a:extLst>
            </p:cNvPr>
            <p:cNvSpPr/>
            <p:nvPr/>
          </p:nvSpPr>
          <p:spPr>
            <a:xfrm>
              <a:off x="5582976" y="3789355"/>
              <a:ext cx="700149" cy="1523412"/>
            </a:xfrm>
            <a:custGeom>
              <a:avLst/>
              <a:gdLst>
                <a:gd name="connsiteX0" fmla="*/ 28010 w 700149"/>
                <a:gd name="connsiteY0" fmla="*/ 1510376 h 1523412"/>
                <a:gd name="connsiteX1" fmla="*/ 14894 w 700149"/>
                <a:gd name="connsiteY1" fmla="*/ 1410202 h 1523412"/>
                <a:gd name="connsiteX2" fmla="*/ 483724 w 700149"/>
                <a:gd name="connsiteY2" fmla="*/ 800107 h 1523412"/>
                <a:gd name="connsiteX3" fmla="*/ 71530 w 700149"/>
                <a:gd name="connsiteY3" fmla="*/ 800107 h 1523412"/>
                <a:gd name="connsiteX4" fmla="*/ 17037 w 700149"/>
                <a:gd name="connsiteY4" fmla="*/ 682473 h 1523412"/>
                <a:gd name="connsiteX5" fmla="*/ 574221 w 700149"/>
                <a:gd name="connsiteY5" fmla="*/ 25248 h 1523412"/>
                <a:gd name="connsiteX6" fmla="*/ 674910 w 700149"/>
                <a:gd name="connsiteY6" fmla="*/ 16951 h 1523412"/>
                <a:gd name="connsiteX7" fmla="*/ 683206 w 700149"/>
                <a:gd name="connsiteY7" fmla="*/ 117640 h 1523412"/>
                <a:gd name="connsiteX8" fmla="*/ 225749 w 700149"/>
                <a:gd name="connsiteY8" fmla="*/ 657232 h 1523412"/>
                <a:gd name="connsiteX9" fmla="*/ 628714 w 700149"/>
                <a:gd name="connsiteY9" fmla="*/ 657232 h 1523412"/>
                <a:gd name="connsiteX10" fmla="*/ 685359 w 700149"/>
                <a:gd name="connsiteY10" fmla="*/ 772198 h 1523412"/>
                <a:gd name="connsiteX11" fmla="*/ 128175 w 700149"/>
                <a:gd name="connsiteY11" fmla="*/ 1497260 h 1523412"/>
                <a:gd name="connsiteX12" fmla="*/ 28010 w 700149"/>
                <a:gd name="connsiteY12" fmla="*/ 1510376 h 15234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700149" h="1523412">
                  <a:moveTo>
                    <a:pt x="28010" y="1510376"/>
                  </a:moveTo>
                  <a:cubicBezTo>
                    <a:pt x="-3594" y="1486754"/>
                    <a:pt x="-9147" y="1441492"/>
                    <a:pt x="14894" y="1410202"/>
                  </a:cubicBezTo>
                  <a:lnTo>
                    <a:pt x="483724" y="800107"/>
                  </a:lnTo>
                  <a:lnTo>
                    <a:pt x="71530" y="800107"/>
                  </a:lnTo>
                  <a:cubicBezTo>
                    <a:pt x="3264" y="784105"/>
                    <a:pt x="-14900" y="744890"/>
                    <a:pt x="17037" y="682473"/>
                  </a:cubicBezTo>
                  <a:lnTo>
                    <a:pt x="574221" y="25248"/>
                  </a:lnTo>
                  <a:cubicBezTo>
                    <a:pt x="599729" y="-4842"/>
                    <a:pt x="644811" y="-8575"/>
                    <a:pt x="674910" y="16951"/>
                  </a:cubicBezTo>
                  <a:cubicBezTo>
                    <a:pt x="704999" y="42469"/>
                    <a:pt x="708714" y="87541"/>
                    <a:pt x="683206" y="117640"/>
                  </a:cubicBezTo>
                  <a:lnTo>
                    <a:pt x="225749" y="657232"/>
                  </a:lnTo>
                  <a:lnTo>
                    <a:pt x="628714" y="657232"/>
                  </a:lnTo>
                  <a:cubicBezTo>
                    <a:pt x="695274" y="672062"/>
                    <a:pt x="714153" y="710381"/>
                    <a:pt x="685359" y="772198"/>
                  </a:cubicBezTo>
                  <a:lnTo>
                    <a:pt x="128175" y="1497260"/>
                  </a:lnTo>
                  <a:cubicBezTo>
                    <a:pt x="104639" y="1521863"/>
                    <a:pt x="60585" y="1534722"/>
                    <a:pt x="28010" y="1510376"/>
                  </a:cubicBezTo>
                  <a:close/>
                </a:path>
              </a:pathLst>
            </a:custGeom>
            <a:solidFill>
              <a:srgbClr val="00338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342905"/>
              <a:endParaRPr lang="ru-RU">
                <a:solidFill>
                  <a:prstClr val="black"/>
                </a:solidFill>
                <a:latin typeface="Calibri" panose="020F0502020204030204"/>
              </a:endParaRPr>
            </a:p>
          </p:txBody>
        </p:sp>
      </p:grpSp>
      <p:grpSp>
        <p:nvGrpSpPr>
          <p:cNvPr id="77" name="Graphic 214">
            <a:extLst>
              <a:ext uri="{FF2B5EF4-FFF2-40B4-BE49-F238E27FC236}">
                <a16:creationId xmlns:a16="http://schemas.microsoft.com/office/drawing/2014/main" id="{2997B471-8F55-4108-A1BA-C1EF44DDE840}"/>
              </a:ext>
            </a:extLst>
          </p:cNvPr>
          <p:cNvGrpSpPr/>
          <p:nvPr/>
        </p:nvGrpSpPr>
        <p:grpSpPr>
          <a:xfrm>
            <a:off x="4054225" y="2213038"/>
            <a:ext cx="213342" cy="237608"/>
            <a:chOff x="4530688" y="1341437"/>
            <a:chExt cx="4381666" cy="4880041"/>
          </a:xfrm>
          <a:solidFill>
            <a:srgbClr val="000000"/>
          </a:solidFill>
        </p:grpSpPr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53473943-DF98-4F85-8EA2-8658E231F04B}"/>
                </a:ext>
              </a:extLst>
            </p:cNvPr>
            <p:cNvSpPr/>
            <p:nvPr/>
          </p:nvSpPr>
          <p:spPr>
            <a:xfrm>
              <a:off x="4530688" y="1341437"/>
              <a:ext cx="4381666" cy="4880041"/>
            </a:xfrm>
            <a:custGeom>
              <a:avLst/>
              <a:gdLst>
                <a:gd name="connsiteX0" fmla="*/ 4243872 w 4381666"/>
                <a:gd name="connsiteY0" fmla="*/ 2539701 h 4880041"/>
                <a:gd name="connsiteX1" fmla="*/ 4246514 w 4381666"/>
                <a:gd name="connsiteY1" fmla="*/ 2438581 h 4880041"/>
                <a:gd name="connsiteX2" fmla="*/ 3922982 w 4381666"/>
                <a:gd name="connsiteY2" fmla="*/ 1331119 h 4880041"/>
                <a:gd name="connsiteX3" fmla="*/ 3123662 w 4381666"/>
                <a:gd name="connsiteY3" fmla="*/ 606596 h 4880041"/>
                <a:gd name="connsiteX4" fmla="*/ 3123662 w 4381666"/>
                <a:gd name="connsiteY4" fmla="*/ 250732 h 4880041"/>
                <a:gd name="connsiteX5" fmla="*/ 2872939 w 4381666"/>
                <a:gd name="connsiteY5" fmla="*/ 0 h 4880041"/>
                <a:gd name="connsiteX6" fmla="*/ 1968972 w 4381666"/>
                <a:gd name="connsiteY6" fmla="*/ 0 h 4880041"/>
                <a:gd name="connsiteX7" fmla="*/ 1897674 w 4381666"/>
                <a:gd name="connsiteY7" fmla="*/ 71298 h 4880041"/>
                <a:gd name="connsiteX8" fmla="*/ 1968972 w 4381666"/>
                <a:gd name="connsiteY8" fmla="*/ 142596 h 4880041"/>
                <a:gd name="connsiteX9" fmla="*/ 2872939 w 4381666"/>
                <a:gd name="connsiteY9" fmla="*/ 142596 h 4880041"/>
                <a:gd name="connsiteX10" fmla="*/ 2981075 w 4381666"/>
                <a:gd name="connsiteY10" fmla="*/ 250732 h 4880041"/>
                <a:gd name="connsiteX11" fmla="*/ 2981075 w 4381666"/>
                <a:gd name="connsiteY11" fmla="*/ 579179 h 4880041"/>
                <a:gd name="connsiteX12" fmla="*/ 1400583 w 4381666"/>
                <a:gd name="connsiteY12" fmla="*/ 579179 h 4880041"/>
                <a:gd name="connsiteX13" fmla="*/ 1400583 w 4381666"/>
                <a:gd name="connsiteY13" fmla="*/ 250732 h 4880041"/>
                <a:gd name="connsiteX14" fmla="*/ 1508719 w 4381666"/>
                <a:gd name="connsiteY14" fmla="*/ 142596 h 4880041"/>
                <a:gd name="connsiteX15" fmla="*/ 1665118 w 4381666"/>
                <a:gd name="connsiteY15" fmla="*/ 142596 h 4880041"/>
                <a:gd name="connsiteX16" fmla="*/ 1736417 w 4381666"/>
                <a:gd name="connsiteY16" fmla="*/ 71298 h 4880041"/>
                <a:gd name="connsiteX17" fmla="*/ 1665118 w 4381666"/>
                <a:gd name="connsiteY17" fmla="*/ 0 h 4880041"/>
                <a:gd name="connsiteX18" fmla="*/ 1508719 w 4381666"/>
                <a:gd name="connsiteY18" fmla="*/ 0 h 4880041"/>
                <a:gd name="connsiteX19" fmla="*/ 1257986 w 4381666"/>
                <a:gd name="connsiteY19" fmla="*/ 250732 h 4880041"/>
                <a:gd name="connsiteX20" fmla="*/ 1257986 w 4381666"/>
                <a:gd name="connsiteY20" fmla="*/ 606444 h 4880041"/>
                <a:gd name="connsiteX21" fmla="*/ 591775 w 4381666"/>
                <a:gd name="connsiteY21" fmla="*/ 1146685 h 4880041"/>
                <a:gd name="connsiteX22" fmla="*/ 190214 w 4381666"/>
                <a:gd name="connsiteY22" fmla="*/ 1964200 h 4880041"/>
                <a:gd name="connsiteX23" fmla="*/ 243203 w 4381666"/>
                <a:gd name="connsiteY23" fmla="*/ 2049977 h 4880041"/>
                <a:gd name="connsiteX24" fmla="*/ 259659 w 4381666"/>
                <a:gd name="connsiteY24" fmla="*/ 2051906 h 4880041"/>
                <a:gd name="connsiteX25" fmla="*/ 328980 w 4381666"/>
                <a:gd name="connsiteY25" fmla="*/ 1996988 h 4880041"/>
                <a:gd name="connsiteX26" fmla="*/ 702639 w 4381666"/>
                <a:gd name="connsiteY26" fmla="*/ 1236359 h 4880041"/>
                <a:gd name="connsiteX27" fmla="*/ 848202 w 4381666"/>
                <a:gd name="connsiteY27" fmla="*/ 1076100 h 4880041"/>
                <a:gd name="connsiteX28" fmla="*/ 848202 w 4381666"/>
                <a:gd name="connsiteY28" fmla="*/ 2538788 h 4880041"/>
                <a:gd name="connsiteX29" fmla="*/ 280535 w 4381666"/>
                <a:gd name="connsiteY29" fmla="*/ 2538788 h 4880041"/>
                <a:gd name="connsiteX30" fmla="*/ 277740 w 4381666"/>
                <a:gd name="connsiteY30" fmla="*/ 2438581 h 4880041"/>
                <a:gd name="connsiteX31" fmla="*/ 283700 w 4381666"/>
                <a:gd name="connsiteY31" fmla="*/ 2287295 h 4880041"/>
                <a:gd name="connsiteX32" fmla="*/ 218182 w 4381666"/>
                <a:gd name="connsiteY32" fmla="*/ 2210655 h 4880041"/>
                <a:gd name="connsiteX33" fmla="*/ 141541 w 4381666"/>
                <a:gd name="connsiteY33" fmla="*/ 2276173 h 4880041"/>
                <a:gd name="connsiteX34" fmla="*/ 135143 w 4381666"/>
                <a:gd name="connsiteY34" fmla="*/ 2438571 h 4880041"/>
                <a:gd name="connsiteX35" fmla="*/ 137786 w 4381666"/>
                <a:gd name="connsiteY35" fmla="*/ 2539691 h 4880041"/>
                <a:gd name="connsiteX36" fmla="*/ 0 w 4381666"/>
                <a:gd name="connsiteY36" fmla="*/ 2693096 h 4880041"/>
                <a:gd name="connsiteX37" fmla="*/ 0 w 4381666"/>
                <a:gd name="connsiteY37" fmla="*/ 2923447 h 4880041"/>
                <a:gd name="connsiteX38" fmla="*/ 154327 w 4381666"/>
                <a:gd name="connsiteY38" fmla="*/ 3077774 h 4880041"/>
                <a:gd name="connsiteX39" fmla="*/ 197220 w 4381666"/>
                <a:gd name="connsiteY39" fmla="*/ 3077774 h 4880041"/>
                <a:gd name="connsiteX40" fmla="*/ 197220 w 4381666"/>
                <a:gd name="connsiteY40" fmla="*/ 3395080 h 4880041"/>
                <a:gd name="connsiteX41" fmla="*/ 173454 w 4381666"/>
                <a:gd name="connsiteY41" fmla="*/ 3395080 h 4880041"/>
                <a:gd name="connsiteX42" fmla="*/ 102156 w 4381666"/>
                <a:gd name="connsiteY42" fmla="*/ 3466378 h 4880041"/>
                <a:gd name="connsiteX43" fmla="*/ 173454 w 4381666"/>
                <a:gd name="connsiteY43" fmla="*/ 3537677 h 4880041"/>
                <a:gd name="connsiteX44" fmla="*/ 197220 w 4381666"/>
                <a:gd name="connsiteY44" fmla="*/ 3537677 h 4880041"/>
                <a:gd name="connsiteX45" fmla="*/ 197220 w 4381666"/>
                <a:gd name="connsiteY45" fmla="*/ 3922801 h 4880041"/>
                <a:gd name="connsiteX46" fmla="*/ 173454 w 4381666"/>
                <a:gd name="connsiteY46" fmla="*/ 3922801 h 4880041"/>
                <a:gd name="connsiteX47" fmla="*/ 102156 w 4381666"/>
                <a:gd name="connsiteY47" fmla="*/ 3994099 h 4880041"/>
                <a:gd name="connsiteX48" fmla="*/ 173454 w 4381666"/>
                <a:gd name="connsiteY48" fmla="*/ 4065398 h 4880041"/>
                <a:gd name="connsiteX49" fmla="*/ 197220 w 4381666"/>
                <a:gd name="connsiteY49" fmla="*/ 4065398 h 4880041"/>
                <a:gd name="connsiteX50" fmla="*/ 197220 w 4381666"/>
                <a:gd name="connsiteY50" fmla="*/ 4450513 h 4880041"/>
                <a:gd name="connsiteX51" fmla="*/ 173454 w 4381666"/>
                <a:gd name="connsiteY51" fmla="*/ 4450513 h 4880041"/>
                <a:gd name="connsiteX52" fmla="*/ 102156 w 4381666"/>
                <a:gd name="connsiteY52" fmla="*/ 4521811 h 4880041"/>
                <a:gd name="connsiteX53" fmla="*/ 173454 w 4381666"/>
                <a:gd name="connsiteY53" fmla="*/ 4593109 h 4880041"/>
                <a:gd name="connsiteX54" fmla="*/ 177818 w 4381666"/>
                <a:gd name="connsiteY54" fmla="*/ 4593109 h 4880041"/>
                <a:gd name="connsiteX55" fmla="*/ 106653 w 4381666"/>
                <a:gd name="connsiteY55" fmla="*/ 4783818 h 4880041"/>
                <a:gd name="connsiteX56" fmla="*/ 114885 w 4381666"/>
                <a:gd name="connsiteY56" fmla="*/ 4849403 h 4880041"/>
                <a:gd name="connsiteX57" fmla="*/ 173454 w 4381666"/>
                <a:gd name="connsiteY57" fmla="*/ 4880042 h 4880041"/>
                <a:gd name="connsiteX58" fmla="*/ 720512 w 4381666"/>
                <a:gd name="connsiteY58" fmla="*/ 4880042 h 4880041"/>
                <a:gd name="connsiteX59" fmla="*/ 779081 w 4381666"/>
                <a:gd name="connsiteY59" fmla="*/ 4849403 h 4880041"/>
                <a:gd name="connsiteX60" fmla="*/ 787313 w 4381666"/>
                <a:gd name="connsiteY60" fmla="*/ 4783818 h 4880041"/>
                <a:gd name="connsiteX61" fmla="*/ 716148 w 4381666"/>
                <a:gd name="connsiteY61" fmla="*/ 4593109 h 4880041"/>
                <a:gd name="connsiteX62" fmla="*/ 1921668 w 4381666"/>
                <a:gd name="connsiteY62" fmla="*/ 4593109 h 4880041"/>
                <a:gd name="connsiteX63" fmla="*/ 1850503 w 4381666"/>
                <a:gd name="connsiteY63" fmla="*/ 4783818 h 4880041"/>
                <a:gd name="connsiteX64" fmla="*/ 1858736 w 4381666"/>
                <a:gd name="connsiteY64" fmla="*/ 4849403 h 4880041"/>
                <a:gd name="connsiteX65" fmla="*/ 1917305 w 4381666"/>
                <a:gd name="connsiteY65" fmla="*/ 4880042 h 4880041"/>
                <a:gd name="connsiteX66" fmla="*/ 2464362 w 4381666"/>
                <a:gd name="connsiteY66" fmla="*/ 4880042 h 4880041"/>
                <a:gd name="connsiteX67" fmla="*/ 2522931 w 4381666"/>
                <a:gd name="connsiteY67" fmla="*/ 4849403 h 4880041"/>
                <a:gd name="connsiteX68" fmla="*/ 2531164 w 4381666"/>
                <a:gd name="connsiteY68" fmla="*/ 4783818 h 4880041"/>
                <a:gd name="connsiteX69" fmla="*/ 2459999 w 4381666"/>
                <a:gd name="connsiteY69" fmla="*/ 4593109 h 4880041"/>
                <a:gd name="connsiteX70" fmla="*/ 3675025 w 4381666"/>
                <a:gd name="connsiteY70" fmla="*/ 4593109 h 4880041"/>
                <a:gd name="connsiteX71" fmla="*/ 3603860 w 4381666"/>
                <a:gd name="connsiteY71" fmla="*/ 4783818 h 4880041"/>
                <a:gd name="connsiteX72" fmla="*/ 3612093 w 4381666"/>
                <a:gd name="connsiteY72" fmla="*/ 4849403 h 4880041"/>
                <a:gd name="connsiteX73" fmla="*/ 3670662 w 4381666"/>
                <a:gd name="connsiteY73" fmla="*/ 4880042 h 4880041"/>
                <a:gd name="connsiteX74" fmla="*/ 4217719 w 4381666"/>
                <a:gd name="connsiteY74" fmla="*/ 4880042 h 4880041"/>
                <a:gd name="connsiteX75" fmla="*/ 4276289 w 4381666"/>
                <a:gd name="connsiteY75" fmla="*/ 4849403 h 4880041"/>
                <a:gd name="connsiteX76" fmla="*/ 4284521 w 4381666"/>
                <a:gd name="connsiteY76" fmla="*/ 4783818 h 4880041"/>
                <a:gd name="connsiteX77" fmla="*/ 4213356 w 4381666"/>
                <a:gd name="connsiteY77" fmla="*/ 4593109 h 4880041"/>
                <a:gd name="connsiteX78" fmla="*/ 4217719 w 4381666"/>
                <a:gd name="connsiteY78" fmla="*/ 4593109 h 4880041"/>
                <a:gd name="connsiteX79" fmla="*/ 4289018 w 4381666"/>
                <a:gd name="connsiteY79" fmla="*/ 4521811 h 4880041"/>
                <a:gd name="connsiteX80" fmla="*/ 4217719 w 4381666"/>
                <a:gd name="connsiteY80" fmla="*/ 4450513 h 4880041"/>
                <a:gd name="connsiteX81" fmla="*/ 4193953 w 4381666"/>
                <a:gd name="connsiteY81" fmla="*/ 4450513 h 4880041"/>
                <a:gd name="connsiteX82" fmla="*/ 4193953 w 4381666"/>
                <a:gd name="connsiteY82" fmla="*/ 4065398 h 4880041"/>
                <a:gd name="connsiteX83" fmla="*/ 4217719 w 4381666"/>
                <a:gd name="connsiteY83" fmla="*/ 4065398 h 4880041"/>
                <a:gd name="connsiteX84" fmla="*/ 4289018 w 4381666"/>
                <a:gd name="connsiteY84" fmla="*/ 3994099 h 4880041"/>
                <a:gd name="connsiteX85" fmla="*/ 4217719 w 4381666"/>
                <a:gd name="connsiteY85" fmla="*/ 3922801 h 4880041"/>
                <a:gd name="connsiteX86" fmla="*/ 4193953 w 4381666"/>
                <a:gd name="connsiteY86" fmla="*/ 3922801 h 4880041"/>
                <a:gd name="connsiteX87" fmla="*/ 4193953 w 4381666"/>
                <a:gd name="connsiteY87" fmla="*/ 3537677 h 4880041"/>
                <a:gd name="connsiteX88" fmla="*/ 4217719 w 4381666"/>
                <a:gd name="connsiteY88" fmla="*/ 3537677 h 4880041"/>
                <a:gd name="connsiteX89" fmla="*/ 4289018 w 4381666"/>
                <a:gd name="connsiteY89" fmla="*/ 3466378 h 4880041"/>
                <a:gd name="connsiteX90" fmla="*/ 4217719 w 4381666"/>
                <a:gd name="connsiteY90" fmla="*/ 3395080 h 4880041"/>
                <a:gd name="connsiteX91" fmla="*/ 4193953 w 4381666"/>
                <a:gd name="connsiteY91" fmla="*/ 3395080 h 4880041"/>
                <a:gd name="connsiteX92" fmla="*/ 4193953 w 4381666"/>
                <a:gd name="connsiteY92" fmla="*/ 3077774 h 4880041"/>
                <a:gd name="connsiteX93" fmla="*/ 4227340 w 4381666"/>
                <a:gd name="connsiteY93" fmla="*/ 3077774 h 4880041"/>
                <a:gd name="connsiteX94" fmla="*/ 4381667 w 4381666"/>
                <a:gd name="connsiteY94" fmla="*/ 2923447 h 4880041"/>
                <a:gd name="connsiteX95" fmla="*/ 4381667 w 4381666"/>
                <a:gd name="connsiteY95" fmla="*/ 2693096 h 4880041"/>
                <a:gd name="connsiteX96" fmla="*/ 4243872 w 4381666"/>
                <a:gd name="connsiteY96" fmla="*/ 2539701 h 4880041"/>
                <a:gd name="connsiteX97" fmla="*/ 1515316 w 4381666"/>
                <a:gd name="connsiteY97" fmla="*/ 1690976 h 4880041"/>
                <a:gd name="connsiteX98" fmla="*/ 990808 w 4381666"/>
                <a:gd name="connsiteY98" fmla="*/ 1690976 h 4880041"/>
                <a:gd name="connsiteX99" fmla="*/ 990808 w 4381666"/>
                <a:gd name="connsiteY99" fmla="*/ 1352594 h 4880041"/>
                <a:gd name="connsiteX100" fmla="*/ 1515316 w 4381666"/>
                <a:gd name="connsiteY100" fmla="*/ 1352594 h 4880041"/>
                <a:gd name="connsiteX101" fmla="*/ 990808 w 4381666"/>
                <a:gd name="connsiteY101" fmla="*/ 1833572 h 4880041"/>
                <a:gd name="connsiteX102" fmla="*/ 1515316 w 4381666"/>
                <a:gd name="connsiteY102" fmla="*/ 1833572 h 4880041"/>
                <a:gd name="connsiteX103" fmla="*/ 1515316 w 4381666"/>
                <a:gd name="connsiteY103" fmla="*/ 2171954 h 4880041"/>
                <a:gd name="connsiteX104" fmla="*/ 990808 w 4381666"/>
                <a:gd name="connsiteY104" fmla="*/ 2171954 h 4880041"/>
                <a:gd name="connsiteX105" fmla="*/ 1346139 w 4381666"/>
                <a:gd name="connsiteY105" fmla="*/ 721776 h 4880041"/>
                <a:gd name="connsiteX106" fmla="*/ 1515316 w 4381666"/>
                <a:gd name="connsiteY106" fmla="*/ 721776 h 4880041"/>
                <a:gd name="connsiteX107" fmla="*/ 1515316 w 4381666"/>
                <a:gd name="connsiteY107" fmla="*/ 1209998 h 4880041"/>
                <a:gd name="connsiteX108" fmla="*/ 990808 w 4381666"/>
                <a:gd name="connsiteY108" fmla="*/ 1209998 h 4880041"/>
                <a:gd name="connsiteX109" fmla="*/ 990808 w 4381666"/>
                <a:gd name="connsiteY109" fmla="*/ 949141 h 4880041"/>
                <a:gd name="connsiteX110" fmla="*/ 1346139 w 4381666"/>
                <a:gd name="connsiteY110" fmla="*/ 721776 h 4880041"/>
                <a:gd name="connsiteX111" fmla="*/ 990808 w 4381666"/>
                <a:gd name="connsiteY111" fmla="*/ 2314560 h 4880041"/>
                <a:gd name="connsiteX112" fmla="*/ 1515316 w 4381666"/>
                <a:gd name="connsiteY112" fmla="*/ 2314560 h 4880041"/>
                <a:gd name="connsiteX113" fmla="*/ 1515316 w 4381666"/>
                <a:gd name="connsiteY113" fmla="*/ 2538788 h 4880041"/>
                <a:gd name="connsiteX114" fmla="*/ 990808 w 4381666"/>
                <a:gd name="connsiteY114" fmla="*/ 2538788 h 4880041"/>
                <a:gd name="connsiteX115" fmla="*/ 276162 w 4381666"/>
                <a:gd name="connsiteY115" fmla="*/ 4737455 h 4880041"/>
                <a:gd name="connsiteX116" fmla="*/ 335320 w 4381666"/>
                <a:gd name="connsiteY116" fmla="*/ 4578935 h 4880041"/>
                <a:gd name="connsiteX117" fmla="*/ 339817 w 4381666"/>
                <a:gd name="connsiteY117" fmla="*/ 4554009 h 4880041"/>
                <a:gd name="connsiteX118" fmla="*/ 339817 w 4381666"/>
                <a:gd name="connsiteY118" fmla="*/ 3077784 h 4880041"/>
                <a:gd name="connsiteX119" fmla="*/ 554149 w 4381666"/>
                <a:gd name="connsiteY119" fmla="*/ 3077784 h 4880041"/>
                <a:gd name="connsiteX120" fmla="*/ 554149 w 4381666"/>
                <a:gd name="connsiteY120" fmla="*/ 4554009 h 4880041"/>
                <a:gd name="connsiteX121" fmla="*/ 558646 w 4381666"/>
                <a:gd name="connsiteY121" fmla="*/ 4578935 h 4880041"/>
                <a:gd name="connsiteX122" fmla="*/ 617804 w 4381666"/>
                <a:gd name="connsiteY122" fmla="*/ 4737455 h 4880041"/>
                <a:gd name="connsiteX123" fmla="*/ 1941061 w 4381666"/>
                <a:gd name="connsiteY123" fmla="*/ 3077784 h 4880041"/>
                <a:gd name="connsiteX124" fmla="*/ 1941061 w 4381666"/>
                <a:gd name="connsiteY124" fmla="*/ 3395089 h 4880041"/>
                <a:gd name="connsiteX125" fmla="*/ 696745 w 4381666"/>
                <a:gd name="connsiteY125" fmla="*/ 3395089 h 4880041"/>
                <a:gd name="connsiteX126" fmla="*/ 696745 w 4381666"/>
                <a:gd name="connsiteY126" fmla="*/ 3077784 h 4880041"/>
                <a:gd name="connsiteX127" fmla="*/ 1941061 w 4381666"/>
                <a:gd name="connsiteY127" fmla="*/ 4335238 h 4880041"/>
                <a:gd name="connsiteX128" fmla="*/ 1185386 w 4381666"/>
                <a:gd name="connsiteY128" fmla="*/ 4065416 h 4880041"/>
                <a:gd name="connsiteX129" fmla="*/ 1941061 w 4381666"/>
                <a:gd name="connsiteY129" fmla="*/ 4065416 h 4880041"/>
                <a:gd name="connsiteX130" fmla="*/ 1941061 w 4381666"/>
                <a:gd name="connsiteY130" fmla="*/ 3922811 h 4880041"/>
                <a:gd name="connsiteX131" fmla="*/ 984714 w 4381666"/>
                <a:gd name="connsiteY131" fmla="*/ 3922811 h 4880041"/>
                <a:gd name="connsiteX132" fmla="*/ 696745 w 4381666"/>
                <a:gd name="connsiteY132" fmla="*/ 3632950 h 4880041"/>
                <a:gd name="connsiteX133" fmla="*/ 696745 w 4381666"/>
                <a:gd name="connsiteY133" fmla="*/ 3537686 h 4880041"/>
                <a:gd name="connsiteX134" fmla="*/ 1941061 w 4381666"/>
                <a:gd name="connsiteY134" fmla="*/ 3537686 h 4880041"/>
                <a:gd name="connsiteX135" fmla="*/ 696745 w 4381666"/>
                <a:gd name="connsiteY135" fmla="*/ 3849906 h 4880041"/>
                <a:gd name="connsiteX136" fmla="*/ 769308 w 4381666"/>
                <a:gd name="connsiteY136" fmla="*/ 3922811 h 4880041"/>
                <a:gd name="connsiteX137" fmla="*/ 696745 w 4381666"/>
                <a:gd name="connsiteY137" fmla="*/ 3922811 h 4880041"/>
                <a:gd name="connsiteX138" fmla="*/ 696745 w 4381666"/>
                <a:gd name="connsiteY138" fmla="*/ 4065407 h 4880041"/>
                <a:gd name="connsiteX139" fmla="*/ 935224 w 4381666"/>
                <a:gd name="connsiteY139" fmla="*/ 4065407 h 4880041"/>
                <a:gd name="connsiteX140" fmla="*/ 1769556 w 4381666"/>
                <a:gd name="connsiteY140" fmla="*/ 4450522 h 4880041"/>
                <a:gd name="connsiteX141" fmla="*/ 696745 w 4381666"/>
                <a:gd name="connsiteY141" fmla="*/ 4450522 h 4880041"/>
                <a:gd name="connsiteX142" fmla="*/ 2020003 w 4381666"/>
                <a:gd name="connsiteY142" fmla="*/ 4737455 h 4880041"/>
                <a:gd name="connsiteX143" fmla="*/ 2079161 w 4381666"/>
                <a:gd name="connsiteY143" fmla="*/ 4578935 h 4880041"/>
                <a:gd name="connsiteX144" fmla="*/ 2083658 w 4381666"/>
                <a:gd name="connsiteY144" fmla="*/ 4554009 h 4880041"/>
                <a:gd name="connsiteX145" fmla="*/ 2083658 w 4381666"/>
                <a:gd name="connsiteY145" fmla="*/ 3077784 h 4880041"/>
                <a:gd name="connsiteX146" fmla="*/ 2297990 w 4381666"/>
                <a:gd name="connsiteY146" fmla="*/ 3077784 h 4880041"/>
                <a:gd name="connsiteX147" fmla="*/ 2297990 w 4381666"/>
                <a:gd name="connsiteY147" fmla="*/ 4554009 h 4880041"/>
                <a:gd name="connsiteX148" fmla="*/ 2302487 w 4381666"/>
                <a:gd name="connsiteY148" fmla="*/ 4578935 h 4880041"/>
                <a:gd name="connsiteX149" fmla="*/ 2361645 w 4381666"/>
                <a:gd name="connsiteY149" fmla="*/ 4737455 h 4880041"/>
                <a:gd name="connsiteX150" fmla="*/ 3694409 w 4381666"/>
                <a:gd name="connsiteY150" fmla="*/ 3077784 h 4880041"/>
                <a:gd name="connsiteX151" fmla="*/ 3694409 w 4381666"/>
                <a:gd name="connsiteY151" fmla="*/ 3395089 h 4880041"/>
                <a:gd name="connsiteX152" fmla="*/ 2440587 w 4381666"/>
                <a:gd name="connsiteY152" fmla="*/ 3395089 h 4880041"/>
                <a:gd name="connsiteX153" fmla="*/ 2440587 w 4381666"/>
                <a:gd name="connsiteY153" fmla="*/ 3077784 h 4880041"/>
                <a:gd name="connsiteX154" fmla="*/ 3694409 w 4381666"/>
                <a:gd name="connsiteY154" fmla="*/ 3922811 h 4880041"/>
                <a:gd name="connsiteX155" fmla="*/ 3612520 w 4381666"/>
                <a:gd name="connsiteY155" fmla="*/ 3922811 h 4880041"/>
                <a:gd name="connsiteX156" fmla="*/ 3694409 w 4381666"/>
                <a:gd name="connsiteY156" fmla="*/ 3839810 h 4880041"/>
                <a:gd name="connsiteX157" fmla="*/ 3694409 w 4381666"/>
                <a:gd name="connsiteY157" fmla="*/ 3620981 h 4880041"/>
                <a:gd name="connsiteX158" fmla="*/ 3397191 w 4381666"/>
                <a:gd name="connsiteY158" fmla="*/ 3922820 h 4880041"/>
                <a:gd name="connsiteX159" fmla="*/ 2440587 w 4381666"/>
                <a:gd name="connsiteY159" fmla="*/ 3922820 h 4880041"/>
                <a:gd name="connsiteX160" fmla="*/ 2440587 w 4381666"/>
                <a:gd name="connsiteY160" fmla="*/ 3537695 h 4880041"/>
                <a:gd name="connsiteX161" fmla="*/ 3694409 w 4381666"/>
                <a:gd name="connsiteY161" fmla="*/ 3537695 h 4880041"/>
                <a:gd name="connsiteX162" fmla="*/ 2440587 w 4381666"/>
                <a:gd name="connsiteY162" fmla="*/ 4065407 h 4880041"/>
                <a:gd name="connsiteX163" fmla="*/ 3196614 w 4381666"/>
                <a:gd name="connsiteY163" fmla="*/ 4065407 h 4880041"/>
                <a:gd name="connsiteX164" fmla="*/ 2440587 w 4381666"/>
                <a:gd name="connsiteY164" fmla="*/ 4335228 h 4880041"/>
                <a:gd name="connsiteX165" fmla="*/ 3446767 w 4381666"/>
                <a:gd name="connsiteY165" fmla="*/ 4065407 h 4880041"/>
                <a:gd name="connsiteX166" fmla="*/ 3694419 w 4381666"/>
                <a:gd name="connsiteY166" fmla="*/ 4065407 h 4880041"/>
                <a:gd name="connsiteX167" fmla="*/ 3694419 w 4381666"/>
                <a:gd name="connsiteY167" fmla="*/ 4450522 h 4880041"/>
                <a:gd name="connsiteX168" fmla="*/ 2612254 w 4381666"/>
                <a:gd name="connsiteY168" fmla="*/ 4450522 h 4880041"/>
                <a:gd name="connsiteX169" fmla="*/ 3446767 w 4381666"/>
                <a:gd name="connsiteY169" fmla="*/ 4065407 h 4880041"/>
                <a:gd name="connsiteX170" fmla="*/ 4051337 w 4381666"/>
                <a:gd name="connsiteY170" fmla="*/ 4554009 h 4880041"/>
                <a:gd name="connsiteX171" fmla="*/ 4055834 w 4381666"/>
                <a:gd name="connsiteY171" fmla="*/ 4578935 h 4880041"/>
                <a:gd name="connsiteX172" fmla="*/ 4114993 w 4381666"/>
                <a:gd name="connsiteY172" fmla="*/ 4737455 h 4880041"/>
                <a:gd name="connsiteX173" fmla="*/ 3773351 w 4381666"/>
                <a:gd name="connsiteY173" fmla="*/ 4737455 h 4880041"/>
                <a:gd name="connsiteX174" fmla="*/ 3832509 w 4381666"/>
                <a:gd name="connsiteY174" fmla="*/ 4578935 h 4880041"/>
                <a:gd name="connsiteX175" fmla="*/ 3837006 w 4381666"/>
                <a:gd name="connsiteY175" fmla="*/ 4554009 h 4880041"/>
                <a:gd name="connsiteX176" fmla="*/ 3837006 w 4381666"/>
                <a:gd name="connsiteY176" fmla="*/ 3077784 h 4880041"/>
                <a:gd name="connsiteX177" fmla="*/ 4051337 w 4381666"/>
                <a:gd name="connsiteY177" fmla="*/ 3077784 h 4880041"/>
                <a:gd name="connsiteX178" fmla="*/ 4239052 w 4381666"/>
                <a:gd name="connsiteY178" fmla="*/ 2923456 h 4880041"/>
                <a:gd name="connsiteX179" fmla="*/ 4227321 w 4381666"/>
                <a:gd name="connsiteY179" fmla="*/ 2935187 h 4880041"/>
                <a:gd name="connsiteX180" fmla="*/ 154327 w 4381666"/>
                <a:gd name="connsiteY180" fmla="*/ 2935187 h 4880041"/>
                <a:gd name="connsiteX181" fmla="*/ 142596 w 4381666"/>
                <a:gd name="connsiteY181" fmla="*/ 2923456 h 4880041"/>
                <a:gd name="connsiteX182" fmla="*/ 142596 w 4381666"/>
                <a:gd name="connsiteY182" fmla="*/ 2693106 h 4880041"/>
                <a:gd name="connsiteX183" fmla="*/ 154327 w 4381666"/>
                <a:gd name="connsiteY183" fmla="*/ 2681375 h 4880041"/>
                <a:gd name="connsiteX184" fmla="*/ 3518721 w 4381666"/>
                <a:gd name="connsiteY184" fmla="*/ 2681375 h 4880041"/>
                <a:gd name="connsiteX185" fmla="*/ 3590019 w 4381666"/>
                <a:gd name="connsiteY185" fmla="*/ 2610077 h 4880041"/>
                <a:gd name="connsiteX186" fmla="*/ 3518721 w 4381666"/>
                <a:gd name="connsiteY186" fmla="*/ 2538778 h 4880041"/>
                <a:gd name="connsiteX187" fmla="*/ 1657912 w 4381666"/>
                <a:gd name="connsiteY187" fmla="*/ 2538778 h 4880041"/>
                <a:gd name="connsiteX188" fmla="*/ 1657912 w 4381666"/>
                <a:gd name="connsiteY188" fmla="*/ 721776 h 4880041"/>
                <a:gd name="connsiteX189" fmla="*/ 3035404 w 4381666"/>
                <a:gd name="connsiteY189" fmla="*/ 721776 h 4880041"/>
                <a:gd name="connsiteX190" fmla="*/ 3802915 w 4381666"/>
                <a:gd name="connsiteY190" fmla="*/ 1408045 h 4880041"/>
                <a:gd name="connsiteX191" fmla="*/ 4103918 w 4381666"/>
                <a:gd name="connsiteY191" fmla="*/ 2438581 h 4880041"/>
                <a:gd name="connsiteX192" fmla="*/ 4101123 w 4381666"/>
                <a:gd name="connsiteY192" fmla="*/ 2538788 h 4880041"/>
                <a:gd name="connsiteX193" fmla="*/ 3822565 w 4381666"/>
                <a:gd name="connsiteY193" fmla="*/ 2538788 h 4880041"/>
                <a:gd name="connsiteX194" fmla="*/ 3751267 w 4381666"/>
                <a:gd name="connsiteY194" fmla="*/ 2610086 h 4880041"/>
                <a:gd name="connsiteX195" fmla="*/ 3822565 w 4381666"/>
                <a:gd name="connsiteY195" fmla="*/ 2681385 h 4880041"/>
                <a:gd name="connsiteX196" fmla="*/ 4167715 w 4381666"/>
                <a:gd name="connsiteY196" fmla="*/ 2681385 h 4880041"/>
                <a:gd name="connsiteX197" fmla="*/ 4167820 w 4381666"/>
                <a:gd name="connsiteY197" fmla="*/ 2681385 h 4880041"/>
                <a:gd name="connsiteX198" fmla="*/ 4167915 w 4381666"/>
                <a:gd name="connsiteY198" fmla="*/ 2681385 h 4880041"/>
                <a:gd name="connsiteX199" fmla="*/ 4227311 w 4381666"/>
                <a:gd name="connsiteY199" fmla="*/ 2681385 h 4880041"/>
                <a:gd name="connsiteX200" fmla="*/ 4239042 w 4381666"/>
                <a:gd name="connsiteY200" fmla="*/ 2693116 h 4880041"/>
                <a:gd name="connsiteX201" fmla="*/ 4239042 w 4381666"/>
                <a:gd name="connsiteY201" fmla="*/ 2923456 h 48800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</a:cxnLst>
              <a:rect l="l" t="t" r="r" b="b"/>
              <a:pathLst>
                <a:path w="4381666" h="4880041">
                  <a:moveTo>
                    <a:pt x="4243872" y="2539701"/>
                  </a:moveTo>
                  <a:cubicBezTo>
                    <a:pt x="4245563" y="2505639"/>
                    <a:pt x="4246514" y="2471815"/>
                    <a:pt x="4246514" y="2438581"/>
                  </a:cubicBezTo>
                  <a:cubicBezTo>
                    <a:pt x="4246514" y="2044453"/>
                    <a:pt x="4134633" y="1661496"/>
                    <a:pt x="3922982" y="1331119"/>
                  </a:cubicBezTo>
                  <a:cubicBezTo>
                    <a:pt x="3725096" y="1022236"/>
                    <a:pt x="3449286" y="772673"/>
                    <a:pt x="3123662" y="606596"/>
                  </a:cubicBezTo>
                  <a:lnTo>
                    <a:pt x="3123662" y="250732"/>
                  </a:lnTo>
                  <a:cubicBezTo>
                    <a:pt x="3123662" y="112480"/>
                    <a:pt x="3011191" y="0"/>
                    <a:pt x="2872939" y="0"/>
                  </a:cubicBezTo>
                  <a:lnTo>
                    <a:pt x="1968972" y="0"/>
                  </a:lnTo>
                  <a:cubicBezTo>
                    <a:pt x="1929597" y="0"/>
                    <a:pt x="1897674" y="31923"/>
                    <a:pt x="1897674" y="71298"/>
                  </a:cubicBezTo>
                  <a:cubicBezTo>
                    <a:pt x="1897674" y="110674"/>
                    <a:pt x="1929597" y="142596"/>
                    <a:pt x="1968972" y="142596"/>
                  </a:cubicBezTo>
                  <a:lnTo>
                    <a:pt x="2872939" y="142596"/>
                  </a:lnTo>
                  <a:cubicBezTo>
                    <a:pt x="2932564" y="142596"/>
                    <a:pt x="2981075" y="191108"/>
                    <a:pt x="2981075" y="250732"/>
                  </a:cubicBezTo>
                  <a:lnTo>
                    <a:pt x="2981075" y="579179"/>
                  </a:lnTo>
                  <a:lnTo>
                    <a:pt x="1400583" y="579179"/>
                  </a:lnTo>
                  <a:lnTo>
                    <a:pt x="1400583" y="250732"/>
                  </a:lnTo>
                  <a:cubicBezTo>
                    <a:pt x="1400583" y="191108"/>
                    <a:pt x="1449094" y="142596"/>
                    <a:pt x="1508719" y="142596"/>
                  </a:cubicBezTo>
                  <a:lnTo>
                    <a:pt x="1665118" y="142596"/>
                  </a:lnTo>
                  <a:cubicBezTo>
                    <a:pt x="1704494" y="142596"/>
                    <a:pt x="1736417" y="110674"/>
                    <a:pt x="1736417" y="71298"/>
                  </a:cubicBezTo>
                  <a:cubicBezTo>
                    <a:pt x="1736417" y="31923"/>
                    <a:pt x="1704494" y="0"/>
                    <a:pt x="1665118" y="0"/>
                  </a:cubicBezTo>
                  <a:lnTo>
                    <a:pt x="1508719" y="0"/>
                  </a:lnTo>
                  <a:cubicBezTo>
                    <a:pt x="1370466" y="0"/>
                    <a:pt x="1257986" y="112480"/>
                    <a:pt x="1257986" y="250732"/>
                  </a:cubicBezTo>
                  <a:lnTo>
                    <a:pt x="1257986" y="606444"/>
                  </a:lnTo>
                  <a:cubicBezTo>
                    <a:pt x="1002387" y="736977"/>
                    <a:pt x="772721" y="922970"/>
                    <a:pt x="591775" y="1146685"/>
                  </a:cubicBezTo>
                  <a:cubicBezTo>
                    <a:pt x="399175" y="1384802"/>
                    <a:pt x="260315" y="1667504"/>
                    <a:pt x="190214" y="1964200"/>
                  </a:cubicBezTo>
                  <a:cubicBezTo>
                    <a:pt x="181155" y="2002521"/>
                    <a:pt x="204883" y="2040927"/>
                    <a:pt x="243203" y="2049977"/>
                  </a:cubicBezTo>
                  <a:cubicBezTo>
                    <a:pt x="248717" y="2051279"/>
                    <a:pt x="254231" y="2051906"/>
                    <a:pt x="259659" y="2051906"/>
                  </a:cubicBezTo>
                  <a:cubicBezTo>
                    <a:pt x="291962" y="2051906"/>
                    <a:pt x="321241" y="2029795"/>
                    <a:pt x="328980" y="1996988"/>
                  </a:cubicBezTo>
                  <a:cubicBezTo>
                    <a:pt x="394194" y="1720969"/>
                    <a:pt x="523405" y="1457954"/>
                    <a:pt x="702639" y="1236359"/>
                  </a:cubicBezTo>
                  <a:cubicBezTo>
                    <a:pt x="748004" y="1180281"/>
                    <a:pt x="796687" y="1126779"/>
                    <a:pt x="848202" y="1076100"/>
                  </a:cubicBezTo>
                  <a:lnTo>
                    <a:pt x="848202" y="2538788"/>
                  </a:lnTo>
                  <a:lnTo>
                    <a:pt x="280535" y="2538788"/>
                  </a:lnTo>
                  <a:cubicBezTo>
                    <a:pt x="278748" y="2505012"/>
                    <a:pt x="277740" y="2471473"/>
                    <a:pt x="277740" y="2438581"/>
                  </a:cubicBezTo>
                  <a:cubicBezTo>
                    <a:pt x="277740" y="2388777"/>
                    <a:pt x="279746" y="2337879"/>
                    <a:pt x="283700" y="2287295"/>
                  </a:cubicBezTo>
                  <a:cubicBezTo>
                    <a:pt x="286771" y="2248034"/>
                    <a:pt x="257434" y="2213725"/>
                    <a:pt x="218182" y="2210655"/>
                  </a:cubicBezTo>
                  <a:cubicBezTo>
                    <a:pt x="178940" y="2207584"/>
                    <a:pt x="144612" y="2236911"/>
                    <a:pt x="141541" y="2276173"/>
                  </a:cubicBezTo>
                  <a:cubicBezTo>
                    <a:pt x="137301" y="2330436"/>
                    <a:pt x="135143" y="2385079"/>
                    <a:pt x="135143" y="2438571"/>
                  </a:cubicBezTo>
                  <a:cubicBezTo>
                    <a:pt x="135143" y="2471806"/>
                    <a:pt x="136094" y="2505639"/>
                    <a:pt x="137786" y="2539691"/>
                  </a:cubicBezTo>
                  <a:cubicBezTo>
                    <a:pt x="60451" y="2547981"/>
                    <a:pt x="0" y="2613594"/>
                    <a:pt x="0" y="2693096"/>
                  </a:cubicBezTo>
                  <a:lnTo>
                    <a:pt x="0" y="2923447"/>
                  </a:lnTo>
                  <a:cubicBezTo>
                    <a:pt x="0" y="3008548"/>
                    <a:pt x="69235" y="3077774"/>
                    <a:pt x="154327" y="3077774"/>
                  </a:cubicBezTo>
                  <a:lnTo>
                    <a:pt x="197220" y="3077774"/>
                  </a:lnTo>
                  <a:lnTo>
                    <a:pt x="197220" y="3395080"/>
                  </a:lnTo>
                  <a:lnTo>
                    <a:pt x="173454" y="3395080"/>
                  </a:lnTo>
                  <a:cubicBezTo>
                    <a:pt x="134079" y="3395080"/>
                    <a:pt x="102156" y="3427003"/>
                    <a:pt x="102156" y="3466378"/>
                  </a:cubicBezTo>
                  <a:cubicBezTo>
                    <a:pt x="102156" y="3505754"/>
                    <a:pt x="134079" y="3537677"/>
                    <a:pt x="173454" y="3537677"/>
                  </a:cubicBezTo>
                  <a:lnTo>
                    <a:pt x="197220" y="3537677"/>
                  </a:lnTo>
                  <a:lnTo>
                    <a:pt x="197220" y="3922801"/>
                  </a:lnTo>
                  <a:lnTo>
                    <a:pt x="173454" y="3922801"/>
                  </a:lnTo>
                  <a:cubicBezTo>
                    <a:pt x="134079" y="3922801"/>
                    <a:pt x="102156" y="3954724"/>
                    <a:pt x="102156" y="3994099"/>
                  </a:cubicBezTo>
                  <a:cubicBezTo>
                    <a:pt x="102156" y="4033475"/>
                    <a:pt x="134079" y="4065398"/>
                    <a:pt x="173454" y="4065398"/>
                  </a:cubicBezTo>
                  <a:lnTo>
                    <a:pt x="197220" y="4065398"/>
                  </a:lnTo>
                  <a:lnTo>
                    <a:pt x="197220" y="4450513"/>
                  </a:lnTo>
                  <a:lnTo>
                    <a:pt x="173454" y="4450513"/>
                  </a:lnTo>
                  <a:cubicBezTo>
                    <a:pt x="134079" y="4450513"/>
                    <a:pt x="102156" y="4482435"/>
                    <a:pt x="102156" y="4521811"/>
                  </a:cubicBezTo>
                  <a:cubicBezTo>
                    <a:pt x="102156" y="4561187"/>
                    <a:pt x="134079" y="4593109"/>
                    <a:pt x="173454" y="4593109"/>
                  </a:cubicBezTo>
                  <a:lnTo>
                    <a:pt x="177818" y="4593109"/>
                  </a:lnTo>
                  <a:lnTo>
                    <a:pt x="106653" y="4783818"/>
                  </a:lnTo>
                  <a:cubicBezTo>
                    <a:pt x="98487" y="4805711"/>
                    <a:pt x="101557" y="4830209"/>
                    <a:pt x="114885" y="4849403"/>
                  </a:cubicBezTo>
                  <a:cubicBezTo>
                    <a:pt x="128213" y="4868596"/>
                    <a:pt x="150097" y="4880042"/>
                    <a:pt x="173454" y="4880042"/>
                  </a:cubicBezTo>
                  <a:lnTo>
                    <a:pt x="720512" y="4880042"/>
                  </a:lnTo>
                  <a:cubicBezTo>
                    <a:pt x="743878" y="4880042"/>
                    <a:pt x="765753" y="4868596"/>
                    <a:pt x="779081" y="4849403"/>
                  </a:cubicBezTo>
                  <a:cubicBezTo>
                    <a:pt x="792399" y="4830209"/>
                    <a:pt x="795479" y="4805711"/>
                    <a:pt x="787313" y="4783818"/>
                  </a:cubicBezTo>
                  <a:lnTo>
                    <a:pt x="716148" y="4593109"/>
                  </a:lnTo>
                  <a:lnTo>
                    <a:pt x="1921668" y="4593109"/>
                  </a:lnTo>
                  <a:lnTo>
                    <a:pt x="1850503" y="4783818"/>
                  </a:lnTo>
                  <a:cubicBezTo>
                    <a:pt x="1842337" y="4805711"/>
                    <a:pt x="1845408" y="4830209"/>
                    <a:pt x="1858736" y="4849403"/>
                  </a:cubicBezTo>
                  <a:cubicBezTo>
                    <a:pt x="1872064" y="4868596"/>
                    <a:pt x="1893948" y="4880042"/>
                    <a:pt x="1917305" y="4880042"/>
                  </a:cubicBezTo>
                  <a:lnTo>
                    <a:pt x="2464362" y="4880042"/>
                  </a:lnTo>
                  <a:cubicBezTo>
                    <a:pt x="2487729" y="4880042"/>
                    <a:pt x="2509603" y="4868596"/>
                    <a:pt x="2522931" y="4849403"/>
                  </a:cubicBezTo>
                  <a:cubicBezTo>
                    <a:pt x="2536250" y="4830209"/>
                    <a:pt x="2539330" y="4805711"/>
                    <a:pt x="2531164" y="4783818"/>
                  </a:cubicBezTo>
                  <a:lnTo>
                    <a:pt x="2459999" y="4593109"/>
                  </a:lnTo>
                  <a:lnTo>
                    <a:pt x="3675025" y="4593109"/>
                  </a:lnTo>
                  <a:lnTo>
                    <a:pt x="3603860" y="4783818"/>
                  </a:lnTo>
                  <a:cubicBezTo>
                    <a:pt x="3595694" y="4805711"/>
                    <a:pt x="3598765" y="4830209"/>
                    <a:pt x="3612093" y="4849403"/>
                  </a:cubicBezTo>
                  <a:cubicBezTo>
                    <a:pt x="3625421" y="4868596"/>
                    <a:pt x="3647305" y="4880042"/>
                    <a:pt x="3670662" y="4880042"/>
                  </a:cubicBezTo>
                  <a:lnTo>
                    <a:pt x="4217719" y="4880042"/>
                  </a:lnTo>
                  <a:cubicBezTo>
                    <a:pt x="4241086" y="4880042"/>
                    <a:pt x="4262960" y="4868596"/>
                    <a:pt x="4276289" y="4849403"/>
                  </a:cubicBezTo>
                  <a:cubicBezTo>
                    <a:pt x="4289607" y="4830209"/>
                    <a:pt x="4292687" y="4805711"/>
                    <a:pt x="4284521" y="4783818"/>
                  </a:cubicBezTo>
                  <a:lnTo>
                    <a:pt x="4213356" y="4593109"/>
                  </a:lnTo>
                  <a:lnTo>
                    <a:pt x="4217719" y="4593109"/>
                  </a:lnTo>
                  <a:cubicBezTo>
                    <a:pt x="4257095" y="4593109"/>
                    <a:pt x="4289018" y="4561187"/>
                    <a:pt x="4289018" y="4521811"/>
                  </a:cubicBezTo>
                  <a:cubicBezTo>
                    <a:pt x="4289018" y="4482435"/>
                    <a:pt x="4257095" y="4450513"/>
                    <a:pt x="4217719" y="4450513"/>
                  </a:cubicBezTo>
                  <a:lnTo>
                    <a:pt x="4193953" y="4450513"/>
                  </a:lnTo>
                  <a:lnTo>
                    <a:pt x="4193953" y="4065398"/>
                  </a:lnTo>
                  <a:lnTo>
                    <a:pt x="4217719" y="4065398"/>
                  </a:lnTo>
                  <a:cubicBezTo>
                    <a:pt x="4257095" y="4065398"/>
                    <a:pt x="4289018" y="4033475"/>
                    <a:pt x="4289018" y="3994099"/>
                  </a:cubicBezTo>
                  <a:cubicBezTo>
                    <a:pt x="4289018" y="3954724"/>
                    <a:pt x="4257095" y="3922801"/>
                    <a:pt x="4217719" y="3922801"/>
                  </a:cubicBezTo>
                  <a:lnTo>
                    <a:pt x="4193953" y="3922801"/>
                  </a:lnTo>
                  <a:lnTo>
                    <a:pt x="4193953" y="3537677"/>
                  </a:lnTo>
                  <a:lnTo>
                    <a:pt x="4217719" y="3537677"/>
                  </a:lnTo>
                  <a:cubicBezTo>
                    <a:pt x="4257095" y="3537677"/>
                    <a:pt x="4289018" y="3505754"/>
                    <a:pt x="4289018" y="3466378"/>
                  </a:cubicBezTo>
                  <a:cubicBezTo>
                    <a:pt x="4289018" y="3427003"/>
                    <a:pt x="4257095" y="3395080"/>
                    <a:pt x="4217719" y="3395080"/>
                  </a:cubicBezTo>
                  <a:lnTo>
                    <a:pt x="4193953" y="3395080"/>
                  </a:lnTo>
                  <a:lnTo>
                    <a:pt x="4193953" y="3077774"/>
                  </a:lnTo>
                  <a:lnTo>
                    <a:pt x="4227340" y="3077774"/>
                  </a:lnTo>
                  <a:cubicBezTo>
                    <a:pt x="4312432" y="3077774"/>
                    <a:pt x="4381667" y="3008548"/>
                    <a:pt x="4381667" y="2923447"/>
                  </a:cubicBezTo>
                  <a:lnTo>
                    <a:pt x="4381667" y="2693096"/>
                  </a:lnTo>
                  <a:cubicBezTo>
                    <a:pt x="4381648" y="2613613"/>
                    <a:pt x="4321206" y="2547990"/>
                    <a:pt x="4243872" y="2539701"/>
                  </a:cubicBezTo>
                  <a:close/>
                  <a:moveTo>
                    <a:pt x="1515316" y="1690976"/>
                  </a:moveTo>
                  <a:lnTo>
                    <a:pt x="990808" y="1690976"/>
                  </a:lnTo>
                  <a:lnTo>
                    <a:pt x="990808" y="1352594"/>
                  </a:lnTo>
                  <a:lnTo>
                    <a:pt x="1515316" y="1352594"/>
                  </a:lnTo>
                  <a:close/>
                  <a:moveTo>
                    <a:pt x="990808" y="1833572"/>
                  </a:moveTo>
                  <a:lnTo>
                    <a:pt x="1515316" y="1833572"/>
                  </a:lnTo>
                  <a:lnTo>
                    <a:pt x="1515316" y="2171954"/>
                  </a:lnTo>
                  <a:lnTo>
                    <a:pt x="990808" y="2171954"/>
                  </a:lnTo>
                  <a:close/>
                  <a:moveTo>
                    <a:pt x="1346139" y="721776"/>
                  </a:moveTo>
                  <a:lnTo>
                    <a:pt x="1515316" y="721776"/>
                  </a:lnTo>
                  <a:lnTo>
                    <a:pt x="1515316" y="1209998"/>
                  </a:lnTo>
                  <a:lnTo>
                    <a:pt x="990808" y="1209998"/>
                  </a:lnTo>
                  <a:lnTo>
                    <a:pt x="990808" y="949141"/>
                  </a:lnTo>
                  <a:cubicBezTo>
                    <a:pt x="1100712" y="860494"/>
                    <a:pt x="1220160" y="783910"/>
                    <a:pt x="1346139" y="721776"/>
                  </a:cubicBezTo>
                  <a:close/>
                  <a:moveTo>
                    <a:pt x="990808" y="2314560"/>
                  </a:moveTo>
                  <a:lnTo>
                    <a:pt x="1515316" y="2314560"/>
                  </a:lnTo>
                  <a:lnTo>
                    <a:pt x="1515316" y="2538788"/>
                  </a:lnTo>
                  <a:lnTo>
                    <a:pt x="990808" y="2538788"/>
                  </a:lnTo>
                  <a:close/>
                  <a:moveTo>
                    <a:pt x="276162" y="4737455"/>
                  </a:moveTo>
                  <a:lnTo>
                    <a:pt x="335320" y="4578935"/>
                  </a:lnTo>
                  <a:cubicBezTo>
                    <a:pt x="338296" y="4570959"/>
                    <a:pt x="339817" y="4562518"/>
                    <a:pt x="339817" y="4554009"/>
                  </a:cubicBezTo>
                  <a:lnTo>
                    <a:pt x="339817" y="3077784"/>
                  </a:lnTo>
                  <a:lnTo>
                    <a:pt x="554149" y="3077784"/>
                  </a:lnTo>
                  <a:lnTo>
                    <a:pt x="554149" y="4554009"/>
                  </a:lnTo>
                  <a:cubicBezTo>
                    <a:pt x="554149" y="4562527"/>
                    <a:pt x="555670" y="4570959"/>
                    <a:pt x="558646" y="4578935"/>
                  </a:cubicBezTo>
                  <a:lnTo>
                    <a:pt x="617804" y="4737455"/>
                  </a:lnTo>
                  <a:close/>
                  <a:moveTo>
                    <a:pt x="1941061" y="3077784"/>
                  </a:moveTo>
                  <a:lnTo>
                    <a:pt x="1941061" y="3395089"/>
                  </a:lnTo>
                  <a:lnTo>
                    <a:pt x="696745" y="3395089"/>
                  </a:lnTo>
                  <a:lnTo>
                    <a:pt x="696745" y="3077784"/>
                  </a:lnTo>
                  <a:close/>
                  <a:moveTo>
                    <a:pt x="1941061" y="4335238"/>
                  </a:moveTo>
                  <a:cubicBezTo>
                    <a:pt x="1671811" y="4299893"/>
                    <a:pt x="1414168" y="4206863"/>
                    <a:pt x="1185386" y="4065416"/>
                  </a:cubicBezTo>
                  <a:lnTo>
                    <a:pt x="1941061" y="4065416"/>
                  </a:lnTo>
                  <a:close/>
                  <a:moveTo>
                    <a:pt x="1941061" y="3922811"/>
                  </a:moveTo>
                  <a:lnTo>
                    <a:pt x="984714" y="3922811"/>
                  </a:lnTo>
                  <a:cubicBezTo>
                    <a:pt x="879336" y="3837300"/>
                    <a:pt x="782646" y="3740249"/>
                    <a:pt x="696745" y="3632950"/>
                  </a:cubicBezTo>
                  <a:lnTo>
                    <a:pt x="696745" y="3537686"/>
                  </a:lnTo>
                  <a:lnTo>
                    <a:pt x="1941061" y="3537686"/>
                  </a:lnTo>
                  <a:close/>
                  <a:moveTo>
                    <a:pt x="696745" y="3849906"/>
                  </a:moveTo>
                  <a:cubicBezTo>
                    <a:pt x="720359" y="3874851"/>
                    <a:pt x="744553" y="3899149"/>
                    <a:pt x="769308" y="3922811"/>
                  </a:cubicBezTo>
                  <a:lnTo>
                    <a:pt x="696745" y="3922811"/>
                  </a:lnTo>
                  <a:close/>
                  <a:moveTo>
                    <a:pt x="696745" y="4065407"/>
                  </a:moveTo>
                  <a:lnTo>
                    <a:pt x="935224" y="4065407"/>
                  </a:lnTo>
                  <a:cubicBezTo>
                    <a:pt x="1180262" y="4254300"/>
                    <a:pt x="1465901" y="4386744"/>
                    <a:pt x="1769556" y="4450522"/>
                  </a:cubicBezTo>
                  <a:lnTo>
                    <a:pt x="696745" y="4450522"/>
                  </a:lnTo>
                  <a:close/>
                  <a:moveTo>
                    <a:pt x="2020003" y="4737455"/>
                  </a:moveTo>
                  <a:lnTo>
                    <a:pt x="2079161" y="4578935"/>
                  </a:lnTo>
                  <a:cubicBezTo>
                    <a:pt x="2082137" y="4570959"/>
                    <a:pt x="2083658" y="4562518"/>
                    <a:pt x="2083658" y="4554009"/>
                  </a:cubicBezTo>
                  <a:lnTo>
                    <a:pt x="2083658" y="3077784"/>
                  </a:lnTo>
                  <a:lnTo>
                    <a:pt x="2297990" y="3077784"/>
                  </a:lnTo>
                  <a:lnTo>
                    <a:pt x="2297990" y="4554009"/>
                  </a:lnTo>
                  <a:cubicBezTo>
                    <a:pt x="2297990" y="4562527"/>
                    <a:pt x="2299511" y="4570959"/>
                    <a:pt x="2302487" y="4578935"/>
                  </a:cubicBezTo>
                  <a:lnTo>
                    <a:pt x="2361645" y="4737455"/>
                  </a:lnTo>
                  <a:close/>
                  <a:moveTo>
                    <a:pt x="3694409" y="3077784"/>
                  </a:moveTo>
                  <a:lnTo>
                    <a:pt x="3694409" y="3395089"/>
                  </a:lnTo>
                  <a:lnTo>
                    <a:pt x="2440587" y="3395089"/>
                  </a:lnTo>
                  <a:lnTo>
                    <a:pt x="2440587" y="3077784"/>
                  </a:lnTo>
                  <a:close/>
                  <a:moveTo>
                    <a:pt x="3694409" y="3922811"/>
                  </a:moveTo>
                  <a:lnTo>
                    <a:pt x="3612520" y="3922811"/>
                  </a:lnTo>
                  <a:cubicBezTo>
                    <a:pt x="3640565" y="3895993"/>
                    <a:pt x="3667838" y="3868282"/>
                    <a:pt x="3694409" y="3839810"/>
                  </a:cubicBezTo>
                  <a:close/>
                  <a:moveTo>
                    <a:pt x="3694409" y="3620981"/>
                  </a:moveTo>
                  <a:cubicBezTo>
                    <a:pt x="3606151" y="3733043"/>
                    <a:pt x="3506353" y="3834163"/>
                    <a:pt x="3397191" y="3922820"/>
                  </a:cubicBezTo>
                  <a:lnTo>
                    <a:pt x="2440587" y="3922820"/>
                  </a:lnTo>
                  <a:lnTo>
                    <a:pt x="2440587" y="3537695"/>
                  </a:lnTo>
                  <a:lnTo>
                    <a:pt x="3694409" y="3537695"/>
                  </a:lnTo>
                  <a:close/>
                  <a:moveTo>
                    <a:pt x="2440587" y="4065407"/>
                  </a:moveTo>
                  <a:lnTo>
                    <a:pt x="3196614" y="4065407"/>
                  </a:lnTo>
                  <a:cubicBezTo>
                    <a:pt x="2967889" y="4206910"/>
                    <a:pt x="2710208" y="4299874"/>
                    <a:pt x="2440587" y="4335228"/>
                  </a:cubicBezTo>
                  <a:close/>
                  <a:moveTo>
                    <a:pt x="3446767" y="4065407"/>
                  </a:moveTo>
                  <a:lnTo>
                    <a:pt x="3694419" y="4065407"/>
                  </a:lnTo>
                  <a:lnTo>
                    <a:pt x="3694419" y="4450522"/>
                  </a:lnTo>
                  <a:lnTo>
                    <a:pt x="2612254" y="4450522"/>
                  </a:lnTo>
                  <a:cubicBezTo>
                    <a:pt x="2916193" y="4386744"/>
                    <a:pt x="3201786" y="4254405"/>
                    <a:pt x="3446767" y="4065407"/>
                  </a:cubicBezTo>
                  <a:close/>
                  <a:moveTo>
                    <a:pt x="4051337" y="4554009"/>
                  </a:moveTo>
                  <a:cubicBezTo>
                    <a:pt x="4051337" y="4562527"/>
                    <a:pt x="4052859" y="4570959"/>
                    <a:pt x="4055834" y="4578935"/>
                  </a:cubicBezTo>
                  <a:lnTo>
                    <a:pt x="4114993" y="4737455"/>
                  </a:lnTo>
                  <a:lnTo>
                    <a:pt x="3773351" y="4737455"/>
                  </a:lnTo>
                  <a:lnTo>
                    <a:pt x="3832509" y="4578935"/>
                  </a:lnTo>
                  <a:cubicBezTo>
                    <a:pt x="3835484" y="4570959"/>
                    <a:pt x="3837006" y="4562518"/>
                    <a:pt x="3837006" y="4554009"/>
                  </a:cubicBezTo>
                  <a:lnTo>
                    <a:pt x="3837006" y="3077784"/>
                  </a:lnTo>
                  <a:lnTo>
                    <a:pt x="4051337" y="3077784"/>
                  </a:lnTo>
                  <a:close/>
                  <a:moveTo>
                    <a:pt x="4239052" y="2923456"/>
                  </a:moveTo>
                  <a:cubicBezTo>
                    <a:pt x="4239052" y="2929921"/>
                    <a:pt x="4233785" y="2935187"/>
                    <a:pt x="4227321" y="2935187"/>
                  </a:cubicBezTo>
                  <a:lnTo>
                    <a:pt x="154327" y="2935187"/>
                  </a:lnTo>
                  <a:cubicBezTo>
                    <a:pt x="147863" y="2935187"/>
                    <a:pt x="142596" y="2929921"/>
                    <a:pt x="142596" y="2923456"/>
                  </a:cubicBezTo>
                  <a:lnTo>
                    <a:pt x="142596" y="2693106"/>
                  </a:lnTo>
                  <a:cubicBezTo>
                    <a:pt x="142596" y="2686642"/>
                    <a:pt x="147863" y="2681375"/>
                    <a:pt x="154327" y="2681375"/>
                  </a:cubicBezTo>
                  <a:lnTo>
                    <a:pt x="3518721" y="2681375"/>
                  </a:lnTo>
                  <a:cubicBezTo>
                    <a:pt x="3558096" y="2681375"/>
                    <a:pt x="3590019" y="2649452"/>
                    <a:pt x="3590019" y="2610077"/>
                  </a:cubicBezTo>
                  <a:cubicBezTo>
                    <a:pt x="3590019" y="2570701"/>
                    <a:pt x="3558096" y="2538778"/>
                    <a:pt x="3518721" y="2538778"/>
                  </a:cubicBezTo>
                  <a:lnTo>
                    <a:pt x="1657912" y="2538778"/>
                  </a:lnTo>
                  <a:lnTo>
                    <a:pt x="1657912" y="721776"/>
                  </a:lnTo>
                  <a:lnTo>
                    <a:pt x="3035404" y="721776"/>
                  </a:lnTo>
                  <a:cubicBezTo>
                    <a:pt x="3348736" y="876198"/>
                    <a:pt x="3613956" y="1113099"/>
                    <a:pt x="3802915" y="1408045"/>
                  </a:cubicBezTo>
                  <a:cubicBezTo>
                    <a:pt x="3999832" y="1715417"/>
                    <a:pt x="4103918" y="2071765"/>
                    <a:pt x="4103918" y="2438581"/>
                  </a:cubicBezTo>
                  <a:cubicBezTo>
                    <a:pt x="4103918" y="2471463"/>
                    <a:pt x="4102910" y="2505002"/>
                    <a:pt x="4101123" y="2538788"/>
                  </a:cubicBezTo>
                  <a:lnTo>
                    <a:pt x="3822565" y="2538788"/>
                  </a:lnTo>
                  <a:cubicBezTo>
                    <a:pt x="3783189" y="2538788"/>
                    <a:pt x="3751267" y="2570711"/>
                    <a:pt x="3751267" y="2610086"/>
                  </a:cubicBezTo>
                  <a:cubicBezTo>
                    <a:pt x="3751267" y="2649462"/>
                    <a:pt x="3783189" y="2681385"/>
                    <a:pt x="3822565" y="2681385"/>
                  </a:cubicBezTo>
                  <a:lnTo>
                    <a:pt x="4167715" y="2681385"/>
                  </a:lnTo>
                  <a:lnTo>
                    <a:pt x="4167820" y="2681385"/>
                  </a:lnTo>
                  <a:lnTo>
                    <a:pt x="4167915" y="2681385"/>
                  </a:lnTo>
                  <a:lnTo>
                    <a:pt x="4227311" y="2681385"/>
                  </a:lnTo>
                  <a:cubicBezTo>
                    <a:pt x="4233776" y="2681385"/>
                    <a:pt x="4239042" y="2686651"/>
                    <a:pt x="4239042" y="2693116"/>
                  </a:cubicBezTo>
                  <a:lnTo>
                    <a:pt x="4239042" y="2923456"/>
                  </a:lnTo>
                  <a:close/>
                </a:path>
              </a:pathLst>
            </a:custGeom>
            <a:solidFill>
              <a:srgbClr val="00338D"/>
            </a:solidFill>
            <a:ln w="950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342905"/>
              <a:endParaRPr lang="ru-RU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DDA868D5-B81F-4486-A2A8-7CB5814DF8DB}"/>
                </a:ext>
              </a:extLst>
            </p:cNvPr>
            <p:cNvSpPr/>
            <p:nvPr/>
          </p:nvSpPr>
          <p:spPr>
            <a:xfrm>
              <a:off x="7167535" y="2954773"/>
              <a:ext cx="467802" cy="582943"/>
            </a:xfrm>
            <a:custGeom>
              <a:avLst/>
              <a:gdLst>
                <a:gd name="connsiteX0" fmla="*/ 396504 w 467802"/>
                <a:gd name="connsiteY0" fmla="*/ 0 h 582943"/>
                <a:gd name="connsiteX1" fmla="*/ 325206 w 467802"/>
                <a:gd name="connsiteY1" fmla="*/ 71298 h 582943"/>
                <a:gd name="connsiteX2" fmla="*/ 325206 w 467802"/>
                <a:gd name="connsiteY2" fmla="*/ 220178 h 582943"/>
                <a:gd name="connsiteX3" fmla="*/ 142872 w 467802"/>
                <a:gd name="connsiteY3" fmla="*/ 220178 h 582943"/>
                <a:gd name="connsiteX4" fmla="*/ 142872 w 467802"/>
                <a:gd name="connsiteY4" fmla="*/ 71298 h 582943"/>
                <a:gd name="connsiteX5" fmla="*/ 71574 w 467802"/>
                <a:gd name="connsiteY5" fmla="*/ 0 h 582943"/>
                <a:gd name="connsiteX6" fmla="*/ 276 w 467802"/>
                <a:gd name="connsiteY6" fmla="*/ 71298 h 582943"/>
                <a:gd name="connsiteX7" fmla="*/ 276 w 467802"/>
                <a:gd name="connsiteY7" fmla="*/ 286049 h 582943"/>
                <a:gd name="connsiteX8" fmla="*/ 0 w 467802"/>
                <a:gd name="connsiteY8" fmla="*/ 291477 h 582943"/>
                <a:gd name="connsiteX9" fmla="*/ 276 w 467802"/>
                <a:gd name="connsiteY9" fmla="*/ 296905 h 582943"/>
                <a:gd name="connsiteX10" fmla="*/ 276 w 467802"/>
                <a:gd name="connsiteY10" fmla="*/ 511646 h 582943"/>
                <a:gd name="connsiteX11" fmla="*/ 71574 w 467802"/>
                <a:gd name="connsiteY11" fmla="*/ 582944 h 582943"/>
                <a:gd name="connsiteX12" fmla="*/ 142872 w 467802"/>
                <a:gd name="connsiteY12" fmla="*/ 511646 h 582943"/>
                <a:gd name="connsiteX13" fmla="*/ 142872 w 467802"/>
                <a:gd name="connsiteY13" fmla="*/ 362775 h 582943"/>
                <a:gd name="connsiteX14" fmla="*/ 325206 w 467802"/>
                <a:gd name="connsiteY14" fmla="*/ 362775 h 582943"/>
                <a:gd name="connsiteX15" fmla="*/ 325206 w 467802"/>
                <a:gd name="connsiteY15" fmla="*/ 511646 h 582943"/>
                <a:gd name="connsiteX16" fmla="*/ 396504 w 467802"/>
                <a:gd name="connsiteY16" fmla="*/ 582944 h 582943"/>
                <a:gd name="connsiteX17" fmla="*/ 467802 w 467802"/>
                <a:gd name="connsiteY17" fmla="*/ 511646 h 582943"/>
                <a:gd name="connsiteX18" fmla="*/ 467802 w 467802"/>
                <a:gd name="connsiteY18" fmla="*/ 71298 h 582943"/>
                <a:gd name="connsiteX19" fmla="*/ 396504 w 467802"/>
                <a:gd name="connsiteY19" fmla="*/ 0 h 5829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467802" h="582943">
                  <a:moveTo>
                    <a:pt x="396504" y="0"/>
                  </a:moveTo>
                  <a:cubicBezTo>
                    <a:pt x="357128" y="0"/>
                    <a:pt x="325206" y="31922"/>
                    <a:pt x="325206" y="71298"/>
                  </a:cubicBezTo>
                  <a:lnTo>
                    <a:pt x="325206" y="220178"/>
                  </a:lnTo>
                  <a:lnTo>
                    <a:pt x="142872" y="220178"/>
                  </a:lnTo>
                  <a:lnTo>
                    <a:pt x="142872" y="71298"/>
                  </a:lnTo>
                  <a:cubicBezTo>
                    <a:pt x="142872" y="31922"/>
                    <a:pt x="110950" y="0"/>
                    <a:pt x="71574" y="0"/>
                  </a:cubicBezTo>
                  <a:cubicBezTo>
                    <a:pt x="32199" y="0"/>
                    <a:pt x="276" y="31922"/>
                    <a:pt x="276" y="71298"/>
                  </a:cubicBezTo>
                  <a:lnTo>
                    <a:pt x="276" y="286049"/>
                  </a:lnTo>
                  <a:cubicBezTo>
                    <a:pt x="143" y="287845"/>
                    <a:pt x="0" y="289642"/>
                    <a:pt x="0" y="291477"/>
                  </a:cubicBezTo>
                  <a:cubicBezTo>
                    <a:pt x="0" y="293311"/>
                    <a:pt x="143" y="295108"/>
                    <a:pt x="276" y="296905"/>
                  </a:cubicBezTo>
                  <a:lnTo>
                    <a:pt x="276" y="511646"/>
                  </a:lnTo>
                  <a:cubicBezTo>
                    <a:pt x="276" y="551021"/>
                    <a:pt x="32199" y="582944"/>
                    <a:pt x="71574" y="582944"/>
                  </a:cubicBezTo>
                  <a:cubicBezTo>
                    <a:pt x="110950" y="582944"/>
                    <a:pt x="142872" y="551021"/>
                    <a:pt x="142872" y="511646"/>
                  </a:cubicBezTo>
                  <a:lnTo>
                    <a:pt x="142872" y="362775"/>
                  </a:lnTo>
                  <a:lnTo>
                    <a:pt x="325206" y="362775"/>
                  </a:lnTo>
                  <a:lnTo>
                    <a:pt x="325206" y="511646"/>
                  </a:lnTo>
                  <a:cubicBezTo>
                    <a:pt x="325206" y="551021"/>
                    <a:pt x="357128" y="582944"/>
                    <a:pt x="396504" y="582944"/>
                  </a:cubicBezTo>
                  <a:cubicBezTo>
                    <a:pt x="435880" y="582944"/>
                    <a:pt x="467802" y="551021"/>
                    <a:pt x="467802" y="511646"/>
                  </a:cubicBezTo>
                  <a:lnTo>
                    <a:pt x="467802" y="71298"/>
                  </a:lnTo>
                  <a:cubicBezTo>
                    <a:pt x="467802" y="31922"/>
                    <a:pt x="435880" y="0"/>
                    <a:pt x="396504" y="0"/>
                  </a:cubicBezTo>
                  <a:close/>
                </a:path>
              </a:pathLst>
            </a:custGeom>
            <a:solidFill>
              <a:srgbClr val="00338D"/>
            </a:solidFill>
            <a:ln w="950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342905"/>
              <a:endParaRPr lang="ru-RU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B9FE79E5-3810-4986-A430-A047E3DFBFD8}"/>
                </a:ext>
              </a:extLst>
            </p:cNvPr>
            <p:cNvSpPr/>
            <p:nvPr/>
          </p:nvSpPr>
          <p:spPr>
            <a:xfrm>
              <a:off x="7741292" y="2983297"/>
              <a:ext cx="450912" cy="554438"/>
            </a:xfrm>
            <a:custGeom>
              <a:avLst/>
              <a:gdLst>
                <a:gd name="connsiteX0" fmla="*/ 379624 w 450912"/>
                <a:gd name="connsiteY0" fmla="*/ 411824 h 554438"/>
                <a:gd name="connsiteX1" fmla="*/ 261877 w 450912"/>
                <a:gd name="connsiteY1" fmla="*/ 411824 h 554438"/>
                <a:gd name="connsiteX2" fmla="*/ 343728 w 450912"/>
                <a:gd name="connsiteY2" fmla="*/ 329973 h 554438"/>
                <a:gd name="connsiteX3" fmla="*/ 343728 w 450912"/>
                <a:gd name="connsiteY3" fmla="*/ 56540 h 554438"/>
                <a:gd name="connsiteX4" fmla="*/ 70285 w 450912"/>
                <a:gd name="connsiteY4" fmla="*/ 56540 h 554438"/>
                <a:gd name="connsiteX5" fmla="*/ 20880 w 450912"/>
                <a:gd name="connsiteY5" fmla="*/ 105954 h 554438"/>
                <a:gd name="connsiteX6" fmla="*/ 20880 w 450912"/>
                <a:gd name="connsiteY6" fmla="*/ 206789 h 554438"/>
                <a:gd name="connsiteX7" fmla="*/ 121714 w 450912"/>
                <a:gd name="connsiteY7" fmla="*/ 206789 h 554438"/>
                <a:gd name="connsiteX8" fmla="*/ 171119 w 450912"/>
                <a:gd name="connsiteY8" fmla="*/ 157384 h 554438"/>
                <a:gd name="connsiteX9" fmla="*/ 242893 w 450912"/>
                <a:gd name="connsiteY9" fmla="*/ 157384 h 554438"/>
                <a:gd name="connsiteX10" fmla="*/ 257751 w 450912"/>
                <a:gd name="connsiteY10" fmla="*/ 193271 h 554438"/>
                <a:gd name="connsiteX11" fmla="*/ 242893 w 450912"/>
                <a:gd name="connsiteY11" fmla="*/ 229157 h 554438"/>
                <a:gd name="connsiteX12" fmla="*/ 68222 w 450912"/>
                <a:gd name="connsiteY12" fmla="*/ 403829 h 554438"/>
                <a:gd name="connsiteX13" fmla="*/ 49095 w 450912"/>
                <a:gd name="connsiteY13" fmla="*/ 499977 h 554438"/>
                <a:gd name="connsiteX14" fmla="*/ 130603 w 450912"/>
                <a:gd name="connsiteY14" fmla="*/ 554439 h 554438"/>
                <a:gd name="connsiteX15" fmla="*/ 379614 w 450912"/>
                <a:gd name="connsiteY15" fmla="*/ 554439 h 554438"/>
                <a:gd name="connsiteX16" fmla="*/ 450913 w 450912"/>
                <a:gd name="connsiteY16" fmla="*/ 483141 h 554438"/>
                <a:gd name="connsiteX17" fmla="*/ 379624 w 450912"/>
                <a:gd name="connsiteY17" fmla="*/ 411824 h 5544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450912" h="554438">
                  <a:moveTo>
                    <a:pt x="379624" y="411824"/>
                  </a:moveTo>
                  <a:lnTo>
                    <a:pt x="261877" y="411824"/>
                  </a:lnTo>
                  <a:lnTo>
                    <a:pt x="343728" y="329973"/>
                  </a:lnTo>
                  <a:cubicBezTo>
                    <a:pt x="419114" y="254587"/>
                    <a:pt x="419114" y="131926"/>
                    <a:pt x="343728" y="56540"/>
                  </a:cubicBezTo>
                  <a:cubicBezTo>
                    <a:pt x="268342" y="-18847"/>
                    <a:pt x="145680" y="-18847"/>
                    <a:pt x="70285" y="56540"/>
                  </a:cubicBezTo>
                  <a:lnTo>
                    <a:pt x="20880" y="105954"/>
                  </a:lnTo>
                  <a:cubicBezTo>
                    <a:pt x="-6965" y="133798"/>
                    <a:pt x="-6955" y="178944"/>
                    <a:pt x="20880" y="206789"/>
                  </a:cubicBezTo>
                  <a:cubicBezTo>
                    <a:pt x="48734" y="234633"/>
                    <a:pt x="93870" y="234624"/>
                    <a:pt x="121714" y="206789"/>
                  </a:cubicBezTo>
                  <a:lnTo>
                    <a:pt x="171119" y="157384"/>
                  </a:lnTo>
                  <a:cubicBezTo>
                    <a:pt x="190912" y="137591"/>
                    <a:pt x="223110" y="137591"/>
                    <a:pt x="242893" y="157384"/>
                  </a:cubicBezTo>
                  <a:cubicBezTo>
                    <a:pt x="252475" y="166966"/>
                    <a:pt x="257751" y="179714"/>
                    <a:pt x="257751" y="193271"/>
                  </a:cubicBezTo>
                  <a:cubicBezTo>
                    <a:pt x="257751" y="206827"/>
                    <a:pt x="252475" y="219575"/>
                    <a:pt x="242893" y="229157"/>
                  </a:cubicBezTo>
                  <a:lnTo>
                    <a:pt x="68222" y="403829"/>
                  </a:lnTo>
                  <a:cubicBezTo>
                    <a:pt x="42896" y="429154"/>
                    <a:pt x="35396" y="466885"/>
                    <a:pt x="49095" y="499977"/>
                  </a:cubicBezTo>
                  <a:cubicBezTo>
                    <a:pt x="62794" y="533069"/>
                    <a:pt x="94792" y="554439"/>
                    <a:pt x="130603" y="554439"/>
                  </a:cubicBezTo>
                  <a:lnTo>
                    <a:pt x="379614" y="554439"/>
                  </a:lnTo>
                  <a:cubicBezTo>
                    <a:pt x="418990" y="554439"/>
                    <a:pt x="450913" y="522516"/>
                    <a:pt x="450913" y="483141"/>
                  </a:cubicBezTo>
                  <a:cubicBezTo>
                    <a:pt x="450913" y="443765"/>
                    <a:pt x="419000" y="411824"/>
                    <a:pt x="379624" y="411824"/>
                  </a:cubicBezTo>
                  <a:close/>
                </a:path>
              </a:pathLst>
            </a:custGeom>
            <a:solidFill>
              <a:srgbClr val="00338D"/>
            </a:solidFill>
            <a:ln w="950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342905"/>
              <a:endParaRPr lang="ru-RU">
                <a:solidFill>
                  <a:prstClr val="black"/>
                </a:solidFill>
                <a:latin typeface="Calibri" panose="020F0502020204030204"/>
              </a:endParaRPr>
            </a:p>
          </p:txBody>
        </p:sp>
      </p:grpSp>
      <p:grpSp>
        <p:nvGrpSpPr>
          <p:cNvPr id="91" name="Graphic 235">
            <a:extLst>
              <a:ext uri="{FF2B5EF4-FFF2-40B4-BE49-F238E27FC236}">
                <a16:creationId xmlns:a16="http://schemas.microsoft.com/office/drawing/2014/main" id="{3099F3C4-2ECB-4A83-9DEE-222BCDE4DD4D}"/>
              </a:ext>
            </a:extLst>
          </p:cNvPr>
          <p:cNvGrpSpPr/>
          <p:nvPr/>
        </p:nvGrpSpPr>
        <p:grpSpPr>
          <a:xfrm>
            <a:off x="1668134" y="4915524"/>
            <a:ext cx="342405" cy="342405"/>
            <a:chOff x="4281487" y="1341437"/>
            <a:chExt cx="4876800" cy="4876800"/>
          </a:xfrm>
        </p:grpSpPr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C1D3E2BC-8C2B-4B5E-BD1A-CE8448EBA1B5}"/>
                </a:ext>
              </a:extLst>
            </p:cNvPr>
            <p:cNvSpPr/>
            <p:nvPr/>
          </p:nvSpPr>
          <p:spPr>
            <a:xfrm>
              <a:off x="4281487" y="1997395"/>
              <a:ext cx="4876780" cy="3564855"/>
            </a:xfrm>
            <a:custGeom>
              <a:avLst/>
              <a:gdLst>
                <a:gd name="connsiteX0" fmla="*/ 3948093 w 4876780"/>
                <a:gd name="connsiteY0" fmla="*/ 1139742 h 3564855"/>
                <a:gd name="connsiteX1" fmla="*/ 3641065 w 4876780"/>
                <a:gd name="connsiteY1" fmla="*/ 1139742 h 3564855"/>
                <a:gd name="connsiteX2" fmla="*/ 3733572 w 4876780"/>
                <a:gd name="connsiteY2" fmla="*/ 77619 h 3564855"/>
                <a:gd name="connsiteX3" fmla="*/ 3733781 w 4876780"/>
                <a:gd name="connsiteY3" fmla="*/ 71904 h 3564855"/>
                <a:gd name="connsiteX4" fmla="*/ 3733800 w 4876780"/>
                <a:gd name="connsiteY4" fmla="*/ 71428 h 3564855"/>
                <a:gd name="connsiteX5" fmla="*/ 3733800 w 4876780"/>
                <a:gd name="connsiteY5" fmla="*/ 71352 h 3564855"/>
                <a:gd name="connsiteX6" fmla="*/ 3690728 w 4876780"/>
                <a:gd name="connsiteY6" fmla="*/ 5886 h 3564855"/>
                <a:gd name="connsiteX7" fmla="*/ 3690080 w 4876780"/>
                <a:gd name="connsiteY7" fmla="*/ 5582 h 3564855"/>
                <a:gd name="connsiteX8" fmla="*/ 3685184 w 4876780"/>
                <a:gd name="connsiteY8" fmla="*/ 3791 h 3564855"/>
                <a:gd name="connsiteX9" fmla="*/ 3683356 w 4876780"/>
                <a:gd name="connsiteY9" fmla="*/ 3153 h 3564855"/>
                <a:gd name="connsiteX10" fmla="*/ 3679231 w 4876780"/>
                <a:gd name="connsiteY10" fmla="*/ 2086 h 3564855"/>
                <a:gd name="connsiteX11" fmla="*/ 3676345 w 4876780"/>
                <a:gd name="connsiteY11" fmla="*/ 1391 h 3564855"/>
                <a:gd name="connsiteX12" fmla="*/ 3672640 w 4876780"/>
                <a:gd name="connsiteY12" fmla="*/ 819 h 3564855"/>
                <a:gd name="connsiteX13" fmla="*/ 3669163 w 4876780"/>
                <a:gd name="connsiteY13" fmla="*/ 343 h 3564855"/>
                <a:gd name="connsiteX14" fmla="*/ 3668583 w 4876780"/>
                <a:gd name="connsiteY14" fmla="*/ 267 h 3564855"/>
                <a:gd name="connsiteX15" fmla="*/ 3664839 w 4876780"/>
                <a:gd name="connsiteY15" fmla="*/ 124 h 3564855"/>
                <a:gd name="connsiteX16" fmla="*/ 3662343 w 4876780"/>
                <a:gd name="connsiteY16" fmla="*/ 0 h 3564855"/>
                <a:gd name="connsiteX17" fmla="*/ 3661448 w 4876780"/>
                <a:gd name="connsiteY17" fmla="*/ 0 h 3564855"/>
                <a:gd name="connsiteX18" fmla="*/ 3661229 w 4876780"/>
                <a:gd name="connsiteY18" fmla="*/ 0 h 3564855"/>
                <a:gd name="connsiteX19" fmla="*/ 2200370 w 4876780"/>
                <a:gd name="connsiteY19" fmla="*/ 0 h 3564855"/>
                <a:gd name="connsiteX20" fmla="*/ 2128933 w 4876780"/>
                <a:gd name="connsiteY20" fmla="*/ 71438 h 3564855"/>
                <a:gd name="connsiteX21" fmla="*/ 2200370 w 4876780"/>
                <a:gd name="connsiteY21" fmla="*/ 142875 h 3564855"/>
                <a:gd name="connsiteX22" fmla="*/ 3584477 w 4876780"/>
                <a:gd name="connsiteY22" fmla="*/ 142875 h 3564855"/>
                <a:gd name="connsiteX23" fmla="*/ 3442307 w 4876780"/>
                <a:gd name="connsiteY23" fmla="*/ 1775222 h 3564855"/>
                <a:gd name="connsiteX24" fmla="*/ 3442269 w 4876780"/>
                <a:gd name="connsiteY24" fmla="*/ 1775593 h 3564855"/>
                <a:gd name="connsiteX25" fmla="*/ 3406397 w 4876780"/>
                <a:gd name="connsiteY25" fmla="*/ 2187464 h 3564855"/>
                <a:gd name="connsiteX26" fmla="*/ 924096 w 4876780"/>
                <a:gd name="connsiteY26" fmla="*/ 2187464 h 3564855"/>
                <a:gd name="connsiteX27" fmla="*/ 965616 w 4876780"/>
                <a:gd name="connsiteY27" fmla="*/ 1758858 h 3564855"/>
                <a:gd name="connsiteX28" fmla="*/ 1438256 w 4876780"/>
                <a:gd name="connsiteY28" fmla="*/ 1758858 h 3564855"/>
                <a:gd name="connsiteX29" fmla="*/ 1509694 w 4876780"/>
                <a:gd name="connsiteY29" fmla="*/ 1687421 h 3564855"/>
                <a:gd name="connsiteX30" fmla="*/ 1438256 w 4876780"/>
                <a:gd name="connsiteY30" fmla="*/ 1615983 h 3564855"/>
                <a:gd name="connsiteX31" fmla="*/ 979465 w 4876780"/>
                <a:gd name="connsiteY31" fmla="*/ 1615983 h 3564855"/>
                <a:gd name="connsiteX32" fmla="*/ 1067133 w 4876780"/>
                <a:gd name="connsiteY32" fmla="*/ 711156 h 3564855"/>
                <a:gd name="connsiteX33" fmla="*/ 1819370 w 4876780"/>
                <a:gd name="connsiteY33" fmla="*/ 711156 h 3564855"/>
                <a:gd name="connsiteX34" fmla="*/ 1890808 w 4876780"/>
                <a:gd name="connsiteY34" fmla="*/ 639718 h 3564855"/>
                <a:gd name="connsiteX35" fmla="*/ 1819370 w 4876780"/>
                <a:gd name="connsiteY35" fmla="*/ 568281 h 3564855"/>
                <a:gd name="connsiteX36" fmla="*/ 1080983 w 4876780"/>
                <a:gd name="connsiteY36" fmla="*/ 568281 h 3564855"/>
                <a:gd name="connsiteX37" fmla="*/ 1122207 w 4876780"/>
                <a:gd name="connsiteY37" fmla="*/ 142875 h 3564855"/>
                <a:gd name="connsiteX38" fmla="*/ 1914620 w 4876780"/>
                <a:gd name="connsiteY38" fmla="*/ 142875 h 3564855"/>
                <a:gd name="connsiteX39" fmla="*/ 1986058 w 4876780"/>
                <a:gd name="connsiteY39" fmla="*/ 71438 h 3564855"/>
                <a:gd name="connsiteX40" fmla="*/ 1914620 w 4876780"/>
                <a:gd name="connsiteY40" fmla="*/ 0 h 3564855"/>
                <a:gd name="connsiteX41" fmla="*/ 1057370 w 4876780"/>
                <a:gd name="connsiteY41" fmla="*/ 0 h 3564855"/>
                <a:gd name="connsiteX42" fmla="*/ 1057266 w 4876780"/>
                <a:gd name="connsiteY42" fmla="*/ 10 h 3564855"/>
                <a:gd name="connsiteX43" fmla="*/ 987562 w 4876780"/>
                <a:gd name="connsiteY43" fmla="*/ 56369 h 3564855"/>
                <a:gd name="connsiteX44" fmla="*/ 987381 w 4876780"/>
                <a:gd name="connsiteY44" fmla="*/ 57074 h 3564855"/>
                <a:gd name="connsiteX45" fmla="*/ 986542 w 4876780"/>
                <a:gd name="connsiteY45" fmla="*/ 62503 h 3564855"/>
                <a:gd name="connsiteX46" fmla="*/ 986295 w 4876780"/>
                <a:gd name="connsiteY46" fmla="*/ 64218 h 3564855"/>
                <a:gd name="connsiteX47" fmla="*/ 986247 w 4876780"/>
                <a:gd name="connsiteY47" fmla="*/ 64551 h 3564855"/>
                <a:gd name="connsiteX48" fmla="*/ 937441 w 4876780"/>
                <a:gd name="connsiteY48" fmla="*/ 568281 h 3564855"/>
                <a:gd name="connsiteX49" fmla="*/ 71438 w 4876780"/>
                <a:gd name="connsiteY49" fmla="*/ 568281 h 3564855"/>
                <a:gd name="connsiteX50" fmla="*/ 0 w 4876780"/>
                <a:gd name="connsiteY50" fmla="*/ 639718 h 3564855"/>
                <a:gd name="connsiteX51" fmla="*/ 71438 w 4876780"/>
                <a:gd name="connsiteY51" fmla="*/ 711156 h 3564855"/>
                <a:gd name="connsiteX52" fmla="*/ 923592 w 4876780"/>
                <a:gd name="connsiteY52" fmla="*/ 711156 h 3564855"/>
                <a:gd name="connsiteX53" fmla="*/ 835924 w 4876780"/>
                <a:gd name="connsiteY53" fmla="*/ 1615983 h 3564855"/>
                <a:gd name="connsiteX54" fmla="*/ 581044 w 4876780"/>
                <a:gd name="connsiteY54" fmla="*/ 1615983 h 3564855"/>
                <a:gd name="connsiteX55" fmla="*/ 509607 w 4876780"/>
                <a:gd name="connsiteY55" fmla="*/ 1687421 h 3564855"/>
                <a:gd name="connsiteX56" fmla="*/ 581044 w 4876780"/>
                <a:gd name="connsiteY56" fmla="*/ 1758858 h 3564855"/>
                <a:gd name="connsiteX57" fmla="*/ 822084 w 4876780"/>
                <a:gd name="connsiteY57" fmla="*/ 1758858 h 3564855"/>
                <a:gd name="connsiteX58" fmla="*/ 774344 w 4876780"/>
                <a:gd name="connsiteY58" fmla="*/ 2251501 h 3564855"/>
                <a:gd name="connsiteX59" fmla="*/ 774325 w 4876780"/>
                <a:gd name="connsiteY59" fmla="*/ 2251720 h 3564855"/>
                <a:gd name="connsiteX60" fmla="*/ 700516 w 4876780"/>
                <a:gd name="connsiteY60" fmla="*/ 3013520 h 3564855"/>
                <a:gd name="connsiteX61" fmla="*/ 700488 w 4876780"/>
                <a:gd name="connsiteY61" fmla="*/ 3013777 h 3564855"/>
                <a:gd name="connsiteX62" fmla="*/ 700459 w 4876780"/>
                <a:gd name="connsiteY62" fmla="*/ 3014053 h 3564855"/>
                <a:gd name="connsiteX63" fmla="*/ 700316 w 4876780"/>
                <a:gd name="connsiteY63" fmla="*/ 3017006 h 3564855"/>
                <a:gd name="connsiteX64" fmla="*/ 700116 w 4876780"/>
                <a:gd name="connsiteY64" fmla="*/ 3020940 h 3564855"/>
                <a:gd name="connsiteX65" fmla="*/ 700126 w 4876780"/>
                <a:gd name="connsiteY65" fmla="*/ 3021121 h 3564855"/>
                <a:gd name="connsiteX66" fmla="*/ 700392 w 4876780"/>
                <a:gd name="connsiteY66" fmla="*/ 3026579 h 3564855"/>
                <a:gd name="connsiteX67" fmla="*/ 700497 w 4876780"/>
                <a:gd name="connsiteY67" fmla="*/ 3028321 h 3564855"/>
                <a:gd name="connsiteX68" fmla="*/ 701335 w 4876780"/>
                <a:gd name="connsiteY68" fmla="*/ 3033798 h 3564855"/>
                <a:gd name="connsiteX69" fmla="*/ 701583 w 4876780"/>
                <a:gd name="connsiteY69" fmla="*/ 3035399 h 3564855"/>
                <a:gd name="connsiteX70" fmla="*/ 702612 w 4876780"/>
                <a:gd name="connsiteY70" fmla="*/ 3039437 h 3564855"/>
                <a:gd name="connsiteX71" fmla="*/ 703345 w 4876780"/>
                <a:gd name="connsiteY71" fmla="*/ 3042266 h 3564855"/>
                <a:gd name="connsiteX72" fmla="*/ 703621 w 4876780"/>
                <a:gd name="connsiteY72" fmla="*/ 3043038 h 3564855"/>
                <a:gd name="connsiteX73" fmla="*/ 720604 w 4876780"/>
                <a:gd name="connsiteY73" fmla="*/ 3071003 h 3564855"/>
                <a:gd name="connsiteX74" fmla="*/ 721004 w 4876780"/>
                <a:gd name="connsiteY74" fmla="*/ 3071441 h 3564855"/>
                <a:gd name="connsiteX75" fmla="*/ 723395 w 4876780"/>
                <a:gd name="connsiteY75" fmla="*/ 3073613 h 3564855"/>
                <a:gd name="connsiteX76" fmla="*/ 739969 w 4876780"/>
                <a:gd name="connsiteY76" fmla="*/ 3084957 h 3564855"/>
                <a:gd name="connsiteX77" fmla="*/ 743779 w 4876780"/>
                <a:gd name="connsiteY77" fmla="*/ 3086786 h 3564855"/>
                <a:gd name="connsiteX78" fmla="*/ 744988 w 4876780"/>
                <a:gd name="connsiteY78" fmla="*/ 3087224 h 3564855"/>
                <a:gd name="connsiteX79" fmla="*/ 750437 w 4876780"/>
                <a:gd name="connsiteY79" fmla="*/ 3089205 h 3564855"/>
                <a:gd name="connsiteX80" fmla="*/ 750941 w 4876780"/>
                <a:gd name="connsiteY80" fmla="*/ 3089339 h 3564855"/>
                <a:gd name="connsiteX81" fmla="*/ 757371 w 4876780"/>
                <a:gd name="connsiteY81" fmla="*/ 3090967 h 3564855"/>
                <a:gd name="connsiteX82" fmla="*/ 758228 w 4876780"/>
                <a:gd name="connsiteY82" fmla="*/ 3091101 h 3564855"/>
                <a:gd name="connsiteX83" fmla="*/ 764515 w 4876780"/>
                <a:gd name="connsiteY83" fmla="*/ 3092034 h 3564855"/>
                <a:gd name="connsiteX84" fmla="*/ 764648 w 4876780"/>
                <a:gd name="connsiteY84" fmla="*/ 3092053 h 3564855"/>
                <a:gd name="connsiteX85" fmla="*/ 771620 w 4876780"/>
                <a:gd name="connsiteY85" fmla="*/ 3092396 h 3564855"/>
                <a:gd name="connsiteX86" fmla="*/ 771725 w 4876780"/>
                <a:gd name="connsiteY86" fmla="*/ 3092387 h 3564855"/>
                <a:gd name="connsiteX87" fmla="*/ 1089746 w 4876780"/>
                <a:gd name="connsiteY87" fmla="*/ 3092387 h 3564855"/>
                <a:gd name="connsiteX88" fmla="*/ 1628832 w 4876780"/>
                <a:gd name="connsiteY88" fmla="*/ 3564855 h 3564855"/>
                <a:gd name="connsiteX89" fmla="*/ 2167900 w 4876780"/>
                <a:gd name="connsiteY89" fmla="*/ 3092387 h 3564855"/>
                <a:gd name="connsiteX90" fmla="*/ 3313748 w 4876780"/>
                <a:gd name="connsiteY90" fmla="*/ 3092387 h 3564855"/>
                <a:gd name="connsiteX91" fmla="*/ 3852825 w 4876780"/>
                <a:gd name="connsiteY91" fmla="*/ 3564855 h 3564855"/>
                <a:gd name="connsiteX92" fmla="*/ 4391921 w 4876780"/>
                <a:gd name="connsiteY92" fmla="*/ 3092387 h 3564855"/>
                <a:gd name="connsiteX93" fmla="*/ 4710017 w 4876780"/>
                <a:gd name="connsiteY93" fmla="*/ 3092387 h 3564855"/>
                <a:gd name="connsiteX94" fmla="*/ 4710170 w 4876780"/>
                <a:gd name="connsiteY94" fmla="*/ 3092396 h 3564855"/>
                <a:gd name="connsiteX95" fmla="*/ 4717218 w 4876780"/>
                <a:gd name="connsiteY95" fmla="*/ 3092025 h 3564855"/>
                <a:gd name="connsiteX96" fmla="*/ 4718457 w 4876780"/>
                <a:gd name="connsiteY96" fmla="*/ 3091853 h 3564855"/>
                <a:gd name="connsiteX97" fmla="*/ 4723971 w 4876780"/>
                <a:gd name="connsiteY97" fmla="*/ 3091015 h 3564855"/>
                <a:gd name="connsiteX98" fmla="*/ 4726277 w 4876780"/>
                <a:gd name="connsiteY98" fmla="*/ 3090472 h 3564855"/>
                <a:gd name="connsiteX99" fmla="*/ 4730458 w 4876780"/>
                <a:gd name="connsiteY99" fmla="*/ 3089396 h 3564855"/>
                <a:gd name="connsiteX100" fmla="*/ 4733211 w 4876780"/>
                <a:gd name="connsiteY100" fmla="*/ 3088481 h 3564855"/>
                <a:gd name="connsiteX101" fmla="*/ 4736706 w 4876780"/>
                <a:gd name="connsiteY101" fmla="*/ 3087195 h 3564855"/>
                <a:gd name="connsiteX102" fmla="*/ 4739602 w 4876780"/>
                <a:gd name="connsiteY102" fmla="*/ 3085948 h 3564855"/>
                <a:gd name="connsiteX103" fmla="*/ 4742717 w 4876780"/>
                <a:gd name="connsiteY103" fmla="*/ 3084443 h 3564855"/>
                <a:gd name="connsiteX104" fmla="*/ 4745555 w 4876780"/>
                <a:gd name="connsiteY104" fmla="*/ 3082900 h 3564855"/>
                <a:gd name="connsiteX105" fmla="*/ 4748470 w 4876780"/>
                <a:gd name="connsiteY105" fmla="*/ 3081128 h 3564855"/>
                <a:gd name="connsiteX106" fmla="*/ 4751118 w 4876780"/>
                <a:gd name="connsiteY106" fmla="*/ 3079366 h 3564855"/>
                <a:gd name="connsiteX107" fmla="*/ 4753956 w 4876780"/>
                <a:gd name="connsiteY107" fmla="*/ 3077251 h 3564855"/>
                <a:gd name="connsiteX108" fmla="*/ 4756290 w 4876780"/>
                <a:gd name="connsiteY108" fmla="*/ 3075375 h 3564855"/>
                <a:gd name="connsiteX109" fmla="*/ 4759128 w 4876780"/>
                <a:gd name="connsiteY109" fmla="*/ 3072794 h 3564855"/>
                <a:gd name="connsiteX110" fmla="*/ 4761081 w 4876780"/>
                <a:gd name="connsiteY110" fmla="*/ 3070917 h 3564855"/>
                <a:gd name="connsiteX111" fmla="*/ 4763958 w 4876780"/>
                <a:gd name="connsiteY111" fmla="*/ 3067764 h 3564855"/>
                <a:gd name="connsiteX112" fmla="*/ 4765472 w 4876780"/>
                <a:gd name="connsiteY112" fmla="*/ 3066031 h 3564855"/>
                <a:gd name="connsiteX113" fmla="*/ 4768425 w 4876780"/>
                <a:gd name="connsiteY113" fmla="*/ 3062059 h 3564855"/>
                <a:gd name="connsiteX114" fmla="*/ 4769425 w 4876780"/>
                <a:gd name="connsiteY114" fmla="*/ 3060678 h 3564855"/>
                <a:gd name="connsiteX115" fmla="*/ 4772692 w 4876780"/>
                <a:gd name="connsiteY115" fmla="*/ 3055296 h 3564855"/>
                <a:gd name="connsiteX116" fmla="*/ 4772892 w 4876780"/>
                <a:gd name="connsiteY116" fmla="*/ 3054953 h 3564855"/>
                <a:gd name="connsiteX117" fmla="*/ 4775845 w 4876780"/>
                <a:gd name="connsiteY117" fmla="*/ 3048848 h 3564855"/>
                <a:gd name="connsiteX118" fmla="*/ 4776521 w 4876780"/>
                <a:gd name="connsiteY118" fmla="*/ 3047029 h 3564855"/>
                <a:gd name="connsiteX119" fmla="*/ 4778159 w 4876780"/>
                <a:gd name="connsiteY119" fmla="*/ 3042542 h 3564855"/>
                <a:gd name="connsiteX120" fmla="*/ 4778979 w 4876780"/>
                <a:gd name="connsiteY120" fmla="*/ 3039532 h 3564855"/>
                <a:gd name="connsiteX121" fmla="*/ 4779893 w 4876780"/>
                <a:gd name="connsiteY121" fmla="*/ 3035951 h 3564855"/>
                <a:gd name="connsiteX122" fmla="*/ 4780464 w 4876780"/>
                <a:gd name="connsiteY122" fmla="*/ 3032674 h 3564855"/>
                <a:gd name="connsiteX123" fmla="*/ 4780960 w 4876780"/>
                <a:gd name="connsiteY123" fmla="*/ 3029788 h 3564855"/>
                <a:gd name="connsiteX124" fmla="*/ 4864913 w 4876780"/>
                <a:gd name="connsiteY124" fmla="*/ 2266503 h 3564855"/>
                <a:gd name="connsiteX125" fmla="*/ 4864980 w 4876780"/>
                <a:gd name="connsiteY125" fmla="*/ 2265664 h 3564855"/>
                <a:gd name="connsiteX126" fmla="*/ 4876781 w 4876780"/>
                <a:gd name="connsiteY126" fmla="*/ 2068430 h 3564855"/>
                <a:gd name="connsiteX127" fmla="*/ 3948093 w 4876780"/>
                <a:gd name="connsiteY127" fmla="*/ 1139742 h 3564855"/>
                <a:gd name="connsiteX128" fmla="*/ 3628616 w 4876780"/>
                <a:gd name="connsiteY128" fmla="*/ 1282637 h 3564855"/>
                <a:gd name="connsiteX129" fmla="*/ 3920871 w 4876780"/>
                <a:gd name="connsiteY129" fmla="*/ 1282637 h 3564855"/>
                <a:gd name="connsiteX130" fmla="*/ 3883543 w 4876780"/>
                <a:gd name="connsiteY130" fmla="*/ 1711223 h 3564855"/>
                <a:gd name="connsiteX131" fmla="*/ 3591287 w 4876780"/>
                <a:gd name="connsiteY131" fmla="*/ 1711223 h 3564855"/>
                <a:gd name="connsiteX132" fmla="*/ 3628616 w 4876780"/>
                <a:gd name="connsiteY132" fmla="*/ 1282637 h 3564855"/>
                <a:gd name="connsiteX133" fmla="*/ 1628851 w 4876780"/>
                <a:gd name="connsiteY133" fmla="*/ 3421971 h 3564855"/>
                <a:gd name="connsiteX134" fmla="*/ 1227801 w 4876780"/>
                <a:gd name="connsiteY134" fmla="*/ 3020930 h 3564855"/>
                <a:gd name="connsiteX135" fmla="*/ 1628851 w 4876780"/>
                <a:gd name="connsiteY135" fmla="*/ 2619889 h 3564855"/>
                <a:gd name="connsiteX136" fmla="*/ 2029892 w 4876780"/>
                <a:gd name="connsiteY136" fmla="*/ 3020930 h 3564855"/>
                <a:gd name="connsiteX137" fmla="*/ 1628851 w 4876780"/>
                <a:gd name="connsiteY137" fmla="*/ 3421971 h 3564855"/>
                <a:gd name="connsiteX138" fmla="*/ 3852825 w 4876780"/>
                <a:gd name="connsiteY138" fmla="*/ 3421971 h 3564855"/>
                <a:gd name="connsiteX139" fmla="*/ 3451794 w 4876780"/>
                <a:gd name="connsiteY139" fmla="*/ 3020930 h 3564855"/>
                <a:gd name="connsiteX140" fmla="*/ 3852825 w 4876780"/>
                <a:gd name="connsiteY140" fmla="*/ 2619889 h 3564855"/>
                <a:gd name="connsiteX141" fmla="*/ 4253875 w 4876780"/>
                <a:gd name="connsiteY141" fmla="*/ 3020930 h 3564855"/>
                <a:gd name="connsiteX142" fmla="*/ 3852825 w 4876780"/>
                <a:gd name="connsiteY142" fmla="*/ 3421971 h 3564855"/>
                <a:gd name="connsiteX143" fmla="*/ 4646895 w 4876780"/>
                <a:gd name="connsiteY143" fmla="*/ 2949464 h 3564855"/>
                <a:gd name="connsiteX144" fmla="*/ 4391940 w 4876780"/>
                <a:gd name="connsiteY144" fmla="*/ 2949464 h 3564855"/>
                <a:gd name="connsiteX145" fmla="*/ 3852843 w 4876780"/>
                <a:gd name="connsiteY145" fmla="*/ 2476967 h 3564855"/>
                <a:gd name="connsiteX146" fmla="*/ 3313767 w 4876780"/>
                <a:gd name="connsiteY146" fmla="*/ 2949464 h 3564855"/>
                <a:gd name="connsiteX147" fmla="*/ 2167928 w 4876780"/>
                <a:gd name="connsiteY147" fmla="*/ 2949464 h 3564855"/>
                <a:gd name="connsiteX148" fmla="*/ 1628851 w 4876780"/>
                <a:gd name="connsiteY148" fmla="*/ 2476967 h 3564855"/>
                <a:gd name="connsiteX149" fmla="*/ 1089755 w 4876780"/>
                <a:gd name="connsiteY149" fmla="*/ 2949464 h 3564855"/>
                <a:gd name="connsiteX150" fmla="*/ 850259 w 4876780"/>
                <a:gd name="connsiteY150" fmla="*/ 2949464 h 3564855"/>
                <a:gd name="connsiteX151" fmla="*/ 910257 w 4876780"/>
                <a:gd name="connsiteY151" fmla="*/ 2330301 h 3564855"/>
                <a:gd name="connsiteX152" fmla="*/ 3471863 w 4876780"/>
                <a:gd name="connsiteY152" fmla="*/ 2330301 h 3564855"/>
                <a:gd name="connsiteX153" fmla="*/ 3471863 w 4876780"/>
                <a:gd name="connsiteY153" fmla="*/ 2330339 h 3564855"/>
                <a:gd name="connsiteX154" fmla="*/ 3471967 w 4876780"/>
                <a:gd name="connsiteY154" fmla="*/ 2330339 h 3564855"/>
                <a:gd name="connsiteX155" fmla="*/ 3479073 w 4876780"/>
                <a:gd name="connsiteY155" fmla="*/ 2329968 h 3564855"/>
                <a:gd name="connsiteX156" fmla="*/ 3480378 w 4876780"/>
                <a:gd name="connsiteY156" fmla="*/ 2329777 h 3564855"/>
                <a:gd name="connsiteX157" fmla="*/ 3485931 w 4876780"/>
                <a:gd name="connsiteY157" fmla="*/ 2328929 h 3564855"/>
                <a:gd name="connsiteX158" fmla="*/ 3488274 w 4876780"/>
                <a:gd name="connsiteY158" fmla="*/ 2328358 h 3564855"/>
                <a:gd name="connsiteX159" fmla="*/ 3492522 w 4876780"/>
                <a:gd name="connsiteY159" fmla="*/ 2327263 h 3564855"/>
                <a:gd name="connsiteX160" fmla="*/ 3495304 w 4876780"/>
                <a:gd name="connsiteY160" fmla="*/ 2326310 h 3564855"/>
                <a:gd name="connsiteX161" fmla="*/ 3498866 w 4876780"/>
                <a:gd name="connsiteY161" fmla="*/ 2325005 h 3564855"/>
                <a:gd name="connsiteX162" fmla="*/ 3501800 w 4876780"/>
                <a:gd name="connsiteY162" fmla="*/ 2323681 h 3564855"/>
                <a:gd name="connsiteX163" fmla="*/ 3504933 w 4876780"/>
                <a:gd name="connsiteY163" fmla="*/ 2322176 h 3564855"/>
                <a:gd name="connsiteX164" fmla="*/ 3507819 w 4876780"/>
                <a:gd name="connsiteY164" fmla="*/ 2320557 h 3564855"/>
                <a:gd name="connsiteX165" fmla="*/ 3510724 w 4876780"/>
                <a:gd name="connsiteY165" fmla="*/ 2318795 h 3564855"/>
                <a:gd name="connsiteX166" fmla="*/ 3513411 w 4876780"/>
                <a:gd name="connsiteY166" fmla="*/ 2316937 h 3564855"/>
                <a:gd name="connsiteX167" fmla="*/ 3516183 w 4876780"/>
                <a:gd name="connsiteY167" fmla="*/ 2314871 h 3564855"/>
                <a:gd name="connsiteX168" fmla="*/ 3518611 w 4876780"/>
                <a:gd name="connsiteY168" fmla="*/ 2312842 h 3564855"/>
                <a:gd name="connsiteX169" fmla="*/ 3521259 w 4876780"/>
                <a:gd name="connsiteY169" fmla="*/ 2310432 h 3564855"/>
                <a:gd name="connsiteX170" fmla="*/ 3523412 w 4876780"/>
                <a:gd name="connsiteY170" fmla="*/ 2308289 h 3564855"/>
                <a:gd name="connsiteX171" fmla="*/ 3525917 w 4876780"/>
                <a:gd name="connsiteY171" fmla="*/ 2305526 h 3564855"/>
                <a:gd name="connsiteX172" fmla="*/ 3527794 w 4876780"/>
                <a:gd name="connsiteY172" fmla="*/ 2303279 h 3564855"/>
                <a:gd name="connsiteX173" fmla="*/ 3530079 w 4876780"/>
                <a:gd name="connsiteY173" fmla="*/ 2300212 h 3564855"/>
                <a:gd name="connsiteX174" fmla="*/ 3531718 w 4876780"/>
                <a:gd name="connsiteY174" fmla="*/ 2297849 h 3564855"/>
                <a:gd name="connsiteX175" fmla="*/ 3533718 w 4876780"/>
                <a:gd name="connsiteY175" fmla="*/ 2294544 h 3564855"/>
                <a:gd name="connsiteX176" fmla="*/ 3535137 w 4876780"/>
                <a:gd name="connsiteY176" fmla="*/ 2292010 h 3564855"/>
                <a:gd name="connsiteX177" fmla="*/ 3536794 w 4876780"/>
                <a:gd name="connsiteY177" fmla="*/ 2288591 h 3564855"/>
                <a:gd name="connsiteX178" fmla="*/ 3538023 w 4876780"/>
                <a:gd name="connsiteY178" fmla="*/ 2285810 h 3564855"/>
                <a:gd name="connsiteX179" fmla="*/ 3539290 w 4876780"/>
                <a:gd name="connsiteY179" fmla="*/ 2282381 h 3564855"/>
                <a:gd name="connsiteX180" fmla="*/ 3540328 w 4876780"/>
                <a:gd name="connsiteY180" fmla="*/ 2279295 h 3564855"/>
                <a:gd name="connsiteX181" fmla="*/ 3541186 w 4876780"/>
                <a:gd name="connsiteY181" fmla="*/ 2275932 h 3564855"/>
                <a:gd name="connsiteX182" fmla="*/ 3541986 w 4876780"/>
                <a:gd name="connsiteY182" fmla="*/ 2272522 h 3564855"/>
                <a:gd name="connsiteX183" fmla="*/ 3542509 w 4876780"/>
                <a:gd name="connsiteY183" fmla="*/ 2269112 h 3564855"/>
                <a:gd name="connsiteX184" fmla="*/ 3542995 w 4876780"/>
                <a:gd name="connsiteY184" fmla="*/ 2265569 h 3564855"/>
                <a:gd name="connsiteX185" fmla="*/ 3543062 w 4876780"/>
                <a:gd name="connsiteY185" fmla="*/ 2265064 h 3564855"/>
                <a:gd name="connsiteX186" fmla="*/ 3578867 w 4876780"/>
                <a:gd name="connsiteY186" fmla="*/ 1854061 h 3564855"/>
                <a:gd name="connsiteX187" fmla="*/ 3948075 w 4876780"/>
                <a:gd name="connsiteY187" fmla="*/ 1854061 h 3564855"/>
                <a:gd name="connsiteX188" fmla="*/ 4370165 w 4876780"/>
                <a:gd name="connsiteY188" fmla="*/ 2087537 h 3564855"/>
                <a:gd name="connsiteX189" fmla="*/ 4716304 w 4876780"/>
                <a:gd name="connsiteY189" fmla="*/ 2324110 h 3564855"/>
                <a:gd name="connsiteX190" fmla="*/ 4646895 w 4876780"/>
                <a:gd name="connsiteY190" fmla="*/ 2949464 h 3564855"/>
                <a:gd name="connsiteX191" fmla="*/ 4728515 w 4876780"/>
                <a:gd name="connsiteY191" fmla="*/ 2180949 h 3564855"/>
                <a:gd name="connsiteX192" fmla="*/ 4477922 w 4876780"/>
                <a:gd name="connsiteY192" fmla="*/ 1993773 h 3564855"/>
                <a:gd name="connsiteX193" fmla="*/ 4026580 w 4876780"/>
                <a:gd name="connsiteY193" fmla="*/ 1715510 h 3564855"/>
                <a:gd name="connsiteX194" fmla="*/ 4063537 w 4876780"/>
                <a:gd name="connsiteY194" fmla="*/ 1291190 h 3564855"/>
                <a:gd name="connsiteX195" fmla="*/ 4733906 w 4876780"/>
                <a:gd name="connsiteY195" fmla="*/ 2068449 h 3564855"/>
                <a:gd name="connsiteX196" fmla="*/ 4728515 w 4876780"/>
                <a:gd name="connsiteY196" fmla="*/ 2180949 h 35648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</a:cxnLst>
              <a:rect l="l" t="t" r="r" b="b"/>
              <a:pathLst>
                <a:path w="4876780" h="3564855">
                  <a:moveTo>
                    <a:pt x="3948093" y="1139742"/>
                  </a:moveTo>
                  <a:lnTo>
                    <a:pt x="3641065" y="1139742"/>
                  </a:lnTo>
                  <a:lnTo>
                    <a:pt x="3733572" y="77619"/>
                  </a:lnTo>
                  <a:cubicBezTo>
                    <a:pt x="3733743" y="75695"/>
                    <a:pt x="3733772" y="73800"/>
                    <a:pt x="3733781" y="71904"/>
                  </a:cubicBezTo>
                  <a:cubicBezTo>
                    <a:pt x="3733781" y="71742"/>
                    <a:pt x="3733800" y="71590"/>
                    <a:pt x="3733800" y="71428"/>
                  </a:cubicBezTo>
                  <a:cubicBezTo>
                    <a:pt x="3733800" y="71399"/>
                    <a:pt x="3733800" y="71380"/>
                    <a:pt x="3733800" y="71352"/>
                  </a:cubicBezTo>
                  <a:cubicBezTo>
                    <a:pt x="3733800" y="42443"/>
                    <a:pt x="3716360" y="16964"/>
                    <a:pt x="3690728" y="5886"/>
                  </a:cubicBezTo>
                  <a:cubicBezTo>
                    <a:pt x="3690509" y="5791"/>
                    <a:pt x="3690300" y="5677"/>
                    <a:pt x="3690080" y="5582"/>
                  </a:cubicBezTo>
                  <a:cubicBezTo>
                    <a:pt x="3688490" y="4915"/>
                    <a:pt x="3686842" y="4343"/>
                    <a:pt x="3685184" y="3791"/>
                  </a:cubicBezTo>
                  <a:cubicBezTo>
                    <a:pt x="3684565" y="3591"/>
                    <a:pt x="3683975" y="3343"/>
                    <a:pt x="3683356" y="3153"/>
                  </a:cubicBezTo>
                  <a:cubicBezTo>
                    <a:pt x="3682003" y="2743"/>
                    <a:pt x="3680612" y="2419"/>
                    <a:pt x="3679231" y="2086"/>
                  </a:cubicBezTo>
                  <a:cubicBezTo>
                    <a:pt x="3678260" y="1857"/>
                    <a:pt x="3677327" y="1581"/>
                    <a:pt x="3676345" y="1391"/>
                  </a:cubicBezTo>
                  <a:cubicBezTo>
                    <a:pt x="3675136" y="1153"/>
                    <a:pt x="3673878" y="1000"/>
                    <a:pt x="3672640" y="819"/>
                  </a:cubicBezTo>
                  <a:cubicBezTo>
                    <a:pt x="3671478" y="648"/>
                    <a:pt x="3670335" y="448"/>
                    <a:pt x="3669163" y="343"/>
                  </a:cubicBezTo>
                  <a:cubicBezTo>
                    <a:pt x="3668963" y="324"/>
                    <a:pt x="3668783" y="286"/>
                    <a:pt x="3668583" y="267"/>
                  </a:cubicBezTo>
                  <a:cubicBezTo>
                    <a:pt x="3667325" y="152"/>
                    <a:pt x="3666087" y="172"/>
                    <a:pt x="3664839" y="124"/>
                  </a:cubicBezTo>
                  <a:cubicBezTo>
                    <a:pt x="3664001" y="95"/>
                    <a:pt x="3663182" y="0"/>
                    <a:pt x="3662343" y="0"/>
                  </a:cubicBezTo>
                  <a:lnTo>
                    <a:pt x="3661448" y="0"/>
                  </a:lnTo>
                  <a:cubicBezTo>
                    <a:pt x="3661372" y="0"/>
                    <a:pt x="3661296" y="0"/>
                    <a:pt x="3661229" y="0"/>
                  </a:cubicBezTo>
                  <a:lnTo>
                    <a:pt x="2200370" y="0"/>
                  </a:lnTo>
                  <a:cubicBezTo>
                    <a:pt x="2160937" y="0"/>
                    <a:pt x="2128933" y="32004"/>
                    <a:pt x="2128933" y="71438"/>
                  </a:cubicBezTo>
                  <a:cubicBezTo>
                    <a:pt x="2128933" y="110776"/>
                    <a:pt x="2160937" y="142875"/>
                    <a:pt x="2200370" y="142875"/>
                  </a:cubicBezTo>
                  <a:lnTo>
                    <a:pt x="3584477" y="142875"/>
                  </a:lnTo>
                  <a:lnTo>
                    <a:pt x="3442307" y="1775222"/>
                  </a:lnTo>
                  <a:cubicBezTo>
                    <a:pt x="3442287" y="1775346"/>
                    <a:pt x="3442287" y="1775470"/>
                    <a:pt x="3442269" y="1775593"/>
                  </a:cubicBezTo>
                  <a:lnTo>
                    <a:pt x="3406397" y="2187464"/>
                  </a:lnTo>
                  <a:lnTo>
                    <a:pt x="924096" y="2187464"/>
                  </a:lnTo>
                  <a:lnTo>
                    <a:pt x="965616" y="1758858"/>
                  </a:lnTo>
                  <a:lnTo>
                    <a:pt x="1438256" y="1758858"/>
                  </a:lnTo>
                  <a:cubicBezTo>
                    <a:pt x="1477718" y="1758858"/>
                    <a:pt x="1509694" y="1726873"/>
                    <a:pt x="1509694" y="1687421"/>
                  </a:cubicBezTo>
                  <a:cubicBezTo>
                    <a:pt x="1509694" y="1647968"/>
                    <a:pt x="1477718" y="1615983"/>
                    <a:pt x="1438256" y="1615983"/>
                  </a:cubicBezTo>
                  <a:lnTo>
                    <a:pt x="979465" y="1615983"/>
                  </a:lnTo>
                  <a:lnTo>
                    <a:pt x="1067133" y="711156"/>
                  </a:lnTo>
                  <a:lnTo>
                    <a:pt x="1819370" y="711156"/>
                  </a:lnTo>
                  <a:cubicBezTo>
                    <a:pt x="1858832" y="711156"/>
                    <a:pt x="1890808" y="679171"/>
                    <a:pt x="1890808" y="639718"/>
                  </a:cubicBezTo>
                  <a:cubicBezTo>
                    <a:pt x="1890808" y="600265"/>
                    <a:pt x="1858832" y="568281"/>
                    <a:pt x="1819370" y="568281"/>
                  </a:cubicBezTo>
                  <a:lnTo>
                    <a:pt x="1080983" y="568281"/>
                  </a:lnTo>
                  <a:lnTo>
                    <a:pt x="1122207" y="142875"/>
                  </a:lnTo>
                  <a:lnTo>
                    <a:pt x="1914620" y="142875"/>
                  </a:lnTo>
                  <a:cubicBezTo>
                    <a:pt x="1953959" y="142875"/>
                    <a:pt x="1986058" y="110776"/>
                    <a:pt x="1986058" y="71438"/>
                  </a:cubicBezTo>
                  <a:cubicBezTo>
                    <a:pt x="1986058" y="32004"/>
                    <a:pt x="1953959" y="0"/>
                    <a:pt x="1914620" y="0"/>
                  </a:cubicBezTo>
                  <a:lnTo>
                    <a:pt x="1057370" y="0"/>
                  </a:lnTo>
                  <a:cubicBezTo>
                    <a:pt x="1057332" y="0"/>
                    <a:pt x="1057304" y="10"/>
                    <a:pt x="1057266" y="10"/>
                  </a:cubicBezTo>
                  <a:cubicBezTo>
                    <a:pt x="1023709" y="0"/>
                    <a:pt x="994601" y="23622"/>
                    <a:pt x="987562" y="56369"/>
                  </a:cubicBezTo>
                  <a:cubicBezTo>
                    <a:pt x="987514" y="56607"/>
                    <a:pt x="987428" y="56836"/>
                    <a:pt x="987381" y="57074"/>
                  </a:cubicBezTo>
                  <a:cubicBezTo>
                    <a:pt x="987019" y="58855"/>
                    <a:pt x="986780" y="60674"/>
                    <a:pt x="986542" y="62503"/>
                  </a:cubicBezTo>
                  <a:cubicBezTo>
                    <a:pt x="986476" y="63084"/>
                    <a:pt x="986352" y="63637"/>
                    <a:pt x="986295" y="64218"/>
                  </a:cubicBezTo>
                  <a:cubicBezTo>
                    <a:pt x="986285" y="64332"/>
                    <a:pt x="986257" y="64437"/>
                    <a:pt x="986247" y="64551"/>
                  </a:cubicBezTo>
                  <a:lnTo>
                    <a:pt x="937441" y="568281"/>
                  </a:lnTo>
                  <a:lnTo>
                    <a:pt x="71438" y="568281"/>
                  </a:lnTo>
                  <a:cubicBezTo>
                    <a:pt x="31975" y="568281"/>
                    <a:pt x="0" y="600265"/>
                    <a:pt x="0" y="639718"/>
                  </a:cubicBezTo>
                  <a:cubicBezTo>
                    <a:pt x="0" y="679171"/>
                    <a:pt x="31975" y="711156"/>
                    <a:pt x="71438" y="711156"/>
                  </a:cubicBezTo>
                  <a:lnTo>
                    <a:pt x="923592" y="711156"/>
                  </a:lnTo>
                  <a:lnTo>
                    <a:pt x="835924" y="1615983"/>
                  </a:lnTo>
                  <a:lnTo>
                    <a:pt x="581044" y="1615983"/>
                  </a:lnTo>
                  <a:cubicBezTo>
                    <a:pt x="541582" y="1615983"/>
                    <a:pt x="509607" y="1647968"/>
                    <a:pt x="509607" y="1687421"/>
                  </a:cubicBezTo>
                  <a:cubicBezTo>
                    <a:pt x="509607" y="1726873"/>
                    <a:pt x="541582" y="1758858"/>
                    <a:pt x="581044" y="1758858"/>
                  </a:cubicBezTo>
                  <a:lnTo>
                    <a:pt x="822084" y="1758858"/>
                  </a:lnTo>
                  <a:lnTo>
                    <a:pt x="774344" y="2251501"/>
                  </a:lnTo>
                  <a:cubicBezTo>
                    <a:pt x="774335" y="2251577"/>
                    <a:pt x="774335" y="2251653"/>
                    <a:pt x="774325" y="2251720"/>
                  </a:cubicBezTo>
                  <a:lnTo>
                    <a:pt x="700516" y="3013520"/>
                  </a:lnTo>
                  <a:cubicBezTo>
                    <a:pt x="700507" y="3013605"/>
                    <a:pt x="700497" y="3013701"/>
                    <a:pt x="700488" y="3013777"/>
                  </a:cubicBezTo>
                  <a:lnTo>
                    <a:pt x="700459" y="3014053"/>
                  </a:lnTo>
                  <a:cubicBezTo>
                    <a:pt x="700364" y="3015044"/>
                    <a:pt x="700373" y="3016015"/>
                    <a:pt x="700316" y="3017006"/>
                  </a:cubicBezTo>
                  <a:cubicBezTo>
                    <a:pt x="700249" y="3018320"/>
                    <a:pt x="700116" y="3019606"/>
                    <a:pt x="700116" y="3020940"/>
                  </a:cubicBezTo>
                  <a:cubicBezTo>
                    <a:pt x="700116" y="3020997"/>
                    <a:pt x="700126" y="3021054"/>
                    <a:pt x="700126" y="3021121"/>
                  </a:cubicBezTo>
                  <a:cubicBezTo>
                    <a:pt x="700126" y="3022959"/>
                    <a:pt x="700259" y="3024769"/>
                    <a:pt x="700392" y="3026579"/>
                  </a:cubicBezTo>
                  <a:cubicBezTo>
                    <a:pt x="700450" y="3027159"/>
                    <a:pt x="700430" y="3027750"/>
                    <a:pt x="700497" y="3028321"/>
                  </a:cubicBezTo>
                  <a:cubicBezTo>
                    <a:pt x="700688" y="3030169"/>
                    <a:pt x="701002" y="3031989"/>
                    <a:pt x="701335" y="3033798"/>
                  </a:cubicBezTo>
                  <a:cubicBezTo>
                    <a:pt x="701431" y="3034332"/>
                    <a:pt x="701478" y="3034875"/>
                    <a:pt x="701583" y="3035399"/>
                  </a:cubicBezTo>
                  <a:cubicBezTo>
                    <a:pt x="701859" y="3036770"/>
                    <a:pt x="702250" y="3038094"/>
                    <a:pt x="702612" y="3039437"/>
                  </a:cubicBezTo>
                  <a:cubicBezTo>
                    <a:pt x="702859" y="3040380"/>
                    <a:pt x="703059" y="3041342"/>
                    <a:pt x="703345" y="3042266"/>
                  </a:cubicBezTo>
                  <a:cubicBezTo>
                    <a:pt x="703431" y="3042523"/>
                    <a:pt x="703545" y="3042771"/>
                    <a:pt x="703621" y="3043038"/>
                  </a:cubicBezTo>
                  <a:cubicBezTo>
                    <a:pt x="707079" y="3053668"/>
                    <a:pt x="712946" y="3063211"/>
                    <a:pt x="720604" y="3071003"/>
                  </a:cubicBezTo>
                  <a:cubicBezTo>
                    <a:pt x="720747" y="3071146"/>
                    <a:pt x="720862" y="3071308"/>
                    <a:pt x="721004" y="3071441"/>
                  </a:cubicBezTo>
                  <a:cubicBezTo>
                    <a:pt x="721766" y="3072203"/>
                    <a:pt x="722595" y="3072889"/>
                    <a:pt x="723395" y="3073613"/>
                  </a:cubicBezTo>
                  <a:cubicBezTo>
                    <a:pt x="728320" y="3078128"/>
                    <a:pt x="733882" y="3081957"/>
                    <a:pt x="739969" y="3084957"/>
                  </a:cubicBezTo>
                  <a:cubicBezTo>
                    <a:pt x="741236" y="3085586"/>
                    <a:pt x="742483" y="3086243"/>
                    <a:pt x="743779" y="3086786"/>
                  </a:cubicBezTo>
                  <a:cubicBezTo>
                    <a:pt x="744169" y="3086957"/>
                    <a:pt x="744588" y="3087072"/>
                    <a:pt x="744988" y="3087224"/>
                  </a:cubicBezTo>
                  <a:cubicBezTo>
                    <a:pt x="746779" y="3087938"/>
                    <a:pt x="748579" y="3088624"/>
                    <a:pt x="750437" y="3089205"/>
                  </a:cubicBezTo>
                  <a:cubicBezTo>
                    <a:pt x="750608" y="3089253"/>
                    <a:pt x="750770" y="3089281"/>
                    <a:pt x="750941" y="3089339"/>
                  </a:cubicBezTo>
                  <a:cubicBezTo>
                    <a:pt x="753056" y="3089967"/>
                    <a:pt x="755190" y="3090520"/>
                    <a:pt x="757371" y="3090967"/>
                  </a:cubicBezTo>
                  <a:cubicBezTo>
                    <a:pt x="757657" y="3091025"/>
                    <a:pt x="757952" y="3091044"/>
                    <a:pt x="758228" y="3091101"/>
                  </a:cubicBezTo>
                  <a:cubicBezTo>
                    <a:pt x="760305" y="3091491"/>
                    <a:pt x="762391" y="3091825"/>
                    <a:pt x="764515" y="3092034"/>
                  </a:cubicBezTo>
                  <a:cubicBezTo>
                    <a:pt x="764562" y="3092034"/>
                    <a:pt x="764600" y="3092044"/>
                    <a:pt x="764648" y="3092053"/>
                  </a:cubicBezTo>
                  <a:cubicBezTo>
                    <a:pt x="766991" y="3092282"/>
                    <a:pt x="769315" y="3092396"/>
                    <a:pt x="771620" y="3092396"/>
                  </a:cubicBezTo>
                  <a:cubicBezTo>
                    <a:pt x="771649" y="3092396"/>
                    <a:pt x="771687" y="3092387"/>
                    <a:pt x="771725" y="3092387"/>
                  </a:cubicBezTo>
                  <a:lnTo>
                    <a:pt x="1089746" y="3092387"/>
                  </a:lnTo>
                  <a:cubicBezTo>
                    <a:pt x="1124864" y="3358639"/>
                    <a:pt x="1353131" y="3564855"/>
                    <a:pt x="1628832" y="3564855"/>
                  </a:cubicBezTo>
                  <a:cubicBezTo>
                    <a:pt x="1904514" y="3564855"/>
                    <a:pt x="2132781" y="3358639"/>
                    <a:pt x="2167900" y="3092387"/>
                  </a:cubicBezTo>
                  <a:lnTo>
                    <a:pt x="3313748" y="3092387"/>
                  </a:lnTo>
                  <a:cubicBezTo>
                    <a:pt x="3348876" y="3358639"/>
                    <a:pt x="3577133" y="3564855"/>
                    <a:pt x="3852825" y="3564855"/>
                  </a:cubicBezTo>
                  <a:cubicBezTo>
                    <a:pt x="4128507" y="3564855"/>
                    <a:pt x="4356792" y="3358639"/>
                    <a:pt x="4391921" y="3092387"/>
                  </a:cubicBezTo>
                  <a:lnTo>
                    <a:pt x="4710017" y="3092387"/>
                  </a:lnTo>
                  <a:cubicBezTo>
                    <a:pt x="4710065" y="3092387"/>
                    <a:pt x="4710122" y="3092396"/>
                    <a:pt x="4710170" y="3092396"/>
                  </a:cubicBezTo>
                  <a:cubicBezTo>
                    <a:pt x="4712551" y="3092396"/>
                    <a:pt x="4714894" y="3092253"/>
                    <a:pt x="4717218" y="3092025"/>
                  </a:cubicBezTo>
                  <a:cubicBezTo>
                    <a:pt x="4717638" y="3091986"/>
                    <a:pt x="4718038" y="3091901"/>
                    <a:pt x="4718457" y="3091853"/>
                  </a:cubicBezTo>
                  <a:cubicBezTo>
                    <a:pt x="4720314" y="3091634"/>
                    <a:pt x="4722162" y="3091377"/>
                    <a:pt x="4723971" y="3091015"/>
                  </a:cubicBezTo>
                  <a:cubicBezTo>
                    <a:pt x="4724753" y="3090863"/>
                    <a:pt x="4725505" y="3090653"/>
                    <a:pt x="4726277" y="3090472"/>
                  </a:cubicBezTo>
                  <a:cubicBezTo>
                    <a:pt x="4727677" y="3090148"/>
                    <a:pt x="4729087" y="3089805"/>
                    <a:pt x="4730458" y="3089396"/>
                  </a:cubicBezTo>
                  <a:cubicBezTo>
                    <a:pt x="4731392" y="3089119"/>
                    <a:pt x="4732297" y="3088796"/>
                    <a:pt x="4733211" y="3088481"/>
                  </a:cubicBezTo>
                  <a:cubicBezTo>
                    <a:pt x="4734382" y="3088081"/>
                    <a:pt x="4735554" y="3087662"/>
                    <a:pt x="4736706" y="3087195"/>
                  </a:cubicBezTo>
                  <a:cubicBezTo>
                    <a:pt x="4737697" y="3086805"/>
                    <a:pt x="4738640" y="3086376"/>
                    <a:pt x="4739602" y="3085948"/>
                  </a:cubicBezTo>
                  <a:cubicBezTo>
                    <a:pt x="4740650" y="3085462"/>
                    <a:pt x="4741698" y="3084967"/>
                    <a:pt x="4742717" y="3084443"/>
                  </a:cubicBezTo>
                  <a:cubicBezTo>
                    <a:pt x="4743688" y="3083947"/>
                    <a:pt x="4744622" y="3083433"/>
                    <a:pt x="4745555" y="3082900"/>
                  </a:cubicBezTo>
                  <a:cubicBezTo>
                    <a:pt x="4746536" y="3082328"/>
                    <a:pt x="4747508" y="3081738"/>
                    <a:pt x="4748470" y="3081128"/>
                  </a:cubicBezTo>
                  <a:cubicBezTo>
                    <a:pt x="4749365" y="3080557"/>
                    <a:pt x="4750261" y="3079976"/>
                    <a:pt x="4751118" y="3079366"/>
                  </a:cubicBezTo>
                  <a:cubicBezTo>
                    <a:pt x="4752090" y="3078690"/>
                    <a:pt x="4753013" y="3077975"/>
                    <a:pt x="4753956" y="3077251"/>
                  </a:cubicBezTo>
                  <a:cubicBezTo>
                    <a:pt x="4754737" y="3076632"/>
                    <a:pt x="4755528" y="3076023"/>
                    <a:pt x="4756290" y="3075375"/>
                  </a:cubicBezTo>
                  <a:cubicBezTo>
                    <a:pt x="4757271" y="3074546"/>
                    <a:pt x="4758195" y="3073679"/>
                    <a:pt x="4759128" y="3072794"/>
                  </a:cubicBezTo>
                  <a:cubicBezTo>
                    <a:pt x="4759776" y="3072175"/>
                    <a:pt x="4760452" y="3071565"/>
                    <a:pt x="4761081" y="3070917"/>
                  </a:cubicBezTo>
                  <a:cubicBezTo>
                    <a:pt x="4762071" y="3069908"/>
                    <a:pt x="4763014" y="3068841"/>
                    <a:pt x="4763958" y="3067764"/>
                  </a:cubicBezTo>
                  <a:cubicBezTo>
                    <a:pt x="4764462" y="3067184"/>
                    <a:pt x="4764986" y="3066621"/>
                    <a:pt x="4765472" y="3066031"/>
                  </a:cubicBezTo>
                  <a:cubicBezTo>
                    <a:pt x="4766520" y="3064736"/>
                    <a:pt x="4767472" y="3063402"/>
                    <a:pt x="4768425" y="3062059"/>
                  </a:cubicBezTo>
                  <a:cubicBezTo>
                    <a:pt x="4768749" y="3061592"/>
                    <a:pt x="4769111" y="3061154"/>
                    <a:pt x="4769425" y="3060678"/>
                  </a:cubicBezTo>
                  <a:cubicBezTo>
                    <a:pt x="4770587" y="3058935"/>
                    <a:pt x="4771682" y="3057144"/>
                    <a:pt x="4772692" y="3055296"/>
                  </a:cubicBezTo>
                  <a:cubicBezTo>
                    <a:pt x="4772768" y="3055182"/>
                    <a:pt x="4772844" y="3055077"/>
                    <a:pt x="4772892" y="3054953"/>
                  </a:cubicBezTo>
                  <a:cubicBezTo>
                    <a:pt x="4773968" y="3052972"/>
                    <a:pt x="4774959" y="3050943"/>
                    <a:pt x="4775845" y="3048848"/>
                  </a:cubicBezTo>
                  <a:cubicBezTo>
                    <a:pt x="4776092" y="3048248"/>
                    <a:pt x="4776283" y="3047629"/>
                    <a:pt x="4776521" y="3047029"/>
                  </a:cubicBezTo>
                  <a:cubicBezTo>
                    <a:pt x="4777102" y="3045552"/>
                    <a:pt x="4777673" y="3044076"/>
                    <a:pt x="4778159" y="3042542"/>
                  </a:cubicBezTo>
                  <a:cubicBezTo>
                    <a:pt x="4778474" y="3041552"/>
                    <a:pt x="4778702" y="3040533"/>
                    <a:pt x="4778979" y="3039532"/>
                  </a:cubicBezTo>
                  <a:cubicBezTo>
                    <a:pt x="4779293" y="3038342"/>
                    <a:pt x="4779626" y="3037161"/>
                    <a:pt x="4779893" y="3035951"/>
                  </a:cubicBezTo>
                  <a:cubicBezTo>
                    <a:pt x="4780131" y="3034875"/>
                    <a:pt x="4780283" y="3033770"/>
                    <a:pt x="4780464" y="3032674"/>
                  </a:cubicBezTo>
                  <a:cubicBezTo>
                    <a:pt x="4780626" y="3031713"/>
                    <a:pt x="4780836" y="3030770"/>
                    <a:pt x="4780960" y="3029788"/>
                  </a:cubicBezTo>
                  <a:cubicBezTo>
                    <a:pt x="4783989" y="3005519"/>
                    <a:pt x="4839929" y="2556710"/>
                    <a:pt x="4864913" y="2266503"/>
                  </a:cubicBezTo>
                  <a:cubicBezTo>
                    <a:pt x="4864942" y="2266226"/>
                    <a:pt x="4864951" y="2265940"/>
                    <a:pt x="4864980" y="2265664"/>
                  </a:cubicBezTo>
                  <a:cubicBezTo>
                    <a:pt x="4872171" y="2182006"/>
                    <a:pt x="4876781" y="2111559"/>
                    <a:pt x="4876781" y="2068430"/>
                  </a:cubicBezTo>
                  <a:cubicBezTo>
                    <a:pt x="4876781" y="1556357"/>
                    <a:pt x="4460177" y="1139742"/>
                    <a:pt x="3948093" y="1139742"/>
                  </a:cubicBezTo>
                  <a:close/>
                  <a:moveTo>
                    <a:pt x="3628616" y="1282637"/>
                  </a:moveTo>
                  <a:lnTo>
                    <a:pt x="3920871" y="1282637"/>
                  </a:lnTo>
                  <a:lnTo>
                    <a:pt x="3883543" y="1711223"/>
                  </a:lnTo>
                  <a:lnTo>
                    <a:pt x="3591287" y="1711223"/>
                  </a:lnTo>
                  <a:lnTo>
                    <a:pt x="3628616" y="1282637"/>
                  </a:lnTo>
                  <a:close/>
                  <a:moveTo>
                    <a:pt x="1628851" y="3421971"/>
                  </a:moveTo>
                  <a:cubicBezTo>
                    <a:pt x="1407709" y="3421971"/>
                    <a:pt x="1227801" y="3242062"/>
                    <a:pt x="1227801" y="3020930"/>
                  </a:cubicBezTo>
                  <a:cubicBezTo>
                    <a:pt x="1227801" y="2799798"/>
                    <a:pt x="1407719" y="2619889"/>
                    <a:pt x="1628851" y="2619889"/>
                  </a:cubicBezTo>
                  <a:cubicBezTo>
                    <a:pt x="1849984" y="2619889"/>
                    <a:pt x="2029892" y="2799798"/>
                    <a:pt x="2029892" y="3020930"/>
                  </a:cubicBezTo>
                  <a:cubicBezTo>
                    <a:pt x="2029892" y="3242062"/>
                    <a:pt x="1849984" y="3421971"/>
                    <a:pt x="1628851" y="3421971"/>
                  </a:cubicBezTo>
                  <a:close/>
                  <a:moveTo>
                    <a:pt x="3852825" y="3421971"/>
                  </a:moveTo>
                  <a:cubicBezTo>
                    <a:pt x="3631692" y="3421971"/>
                    <a:pt x="3451794" y="3242062"/>
                    <a:pt x="3451794" y="3020930"/>
                  </a:cubicBezTo>
                  <a:cubicBezTo>
                    <a:pt x="3451794" y="2799798"/>
                    <a:pt x="3631702" y="2619889"/>
                    <a:pt x="3852825" y="2619889"/>
                  </a:cubicBezTo>
                  <a:cubicBezTo>
                    <a:pt x="4073967" y="2619889"/>
                    <a:pt x="4253875" y="2799798"/>
                    <a:pt x="4253875" y="3020930"/>
                  </a:cubicBezTo>
                  <a:cubicBezTo>
                    <a:pt x="4253875" y="3242062"/>
                    <a:pt x="4073967" y="3421971"/>
                    <a:pt x="3852825" y="3421971"/>
                  </a:cubicBezTo>
                  <a:close/>
                  <a:moveTo>
                    <a:pt x="4646895" y="2949464"/>
                  </a:moveTo>
                  <a:lnTo>
                    <a:pt x="4391940" y="2949464"/>
                  </a:lnTo>
                  <a:cubicBezTo>
                    <a:pt x="4356831" y="2683193"/>
                    <a:pt x="4128554" y="2476967"/>
                    <a:pt x="3852843" y="2476967"/>
                  </a:cubicBezTo>
                  <a:cubicBezTo>
                    <a:pt x="3577152" y="2476967"/>
                    <a:pt x="3348876" y="2683202"/>
                    <a:pt x="3313767" y="2949464"/>
                  </a:cubicBezTo>
                  <a:lnTo>
                    <a:pt x="2167928" y="2949464"/>
                  </a:lnTo>
                  <a:cubicBezTo>
                    <a:pt x="2132819" y="2683193"/>
                    <a:pt x="1904552" y="2476967"/>
                    <a:pt x="1628851" y="2476967"/>
                  </a:cubicBezTo>
                  <a:cubicBezTo>
                    <a:pt x="1353150" y="2476967"/>
                    <a:pt x="1124864" y="2683202"/>
                    <a:pt x="1089755" y="2949464"/>
                  </a:cubicBezTo>
                  <a:lnTo>
                    <a:pt x="850259" y="2949464"/>
                  </a:lnTo>
                  <a:lnTo>
                    <a:pt x="910257" y="2330301"/>
                  </a:lnTo>
                  <a:lnTo>
                    <a:pt x="3471863" y="2330301"/>
                  </a:lnTo>
                  <a:lnTo>
                    <a:pt x="3471863" y="2330339"/>
                  </a:lnTo>
                  <a:cubicBezTo>
                    <a:pt x="3471901" y="2330339"/>
                    <a:pt x="3471929" y="2330339"/>
                    <a:pt x="3471967" y="2330339"/>
                  </a:cubicBezTo>
                  <a:cubicBezTo>
                    <a:pt x="3474358" y="2330339"/>
                    <a:pt x="3476730" y="2330206"/>
                    <a:pt x="3479073" y="2329968"/>
                  </a:cubicBezTo>
                  <a:cubicBezTo>
                    <a:pt x="3479511" y="2329929"/>
                    <a:pt x="3479940" y="2329834"/>
                    <a:pt x="3480378" y="2329777"/>
                  </a:cubicBezTo>
                  <a:cubicBezTo>
                    <a:pt x="3482245" y="2329558"/>
                    <a:pt x="3484102" y="2329291"/>
                    <a:pt x="3485931" y="2328929"/>
                  </a:cubicBezTo>
                  <a:cubicBezTo>
                    <a:pt x="3486722" y="2328767"/>
                    <a:pt x="3487493" y="2328548"/>
                    <a:pt x="3488274" y="2328358"/>
                  </a:cubicBezTo>
                  <a:cubicBezTo>
                    <a:pt x="3489703" y="2328015"/>
                    <a:pt x="3491132" y="2327682"/>
                    <a:pt x="3492522" y="2327263"/>
                  </a:cubicBezTo>
                  <a:cubicBezTo>
                    <a:pt x="3493475" y="2326977"/>
                    <a:pt x="3494380" y="2326634"/>
                    <a:pt x="3495304" y="2326310"/>
                  </a:cubicBezTo>
                  <a:cubicBezTo>
                    <a:pt x="3496504" y="2325891"/>
                    <a:pt x="3497704" y="2325481"/>
                    <a:pt x="3498866" y="2325005"/>
                  </a:cubicBezTo>
                  <a:cubicBezTo>
                    <a:pt x="3499866" y="2324596"/>
                    <a:pt x="3500828" y="2324138"/>
                    <a:pt x="3501800" y="2323681"/>
                  </a:cubicBezTo>
                  <a:cubicBezTo>
                    <a:pt x="3502857" y="2323195"/>
                    <a:pt x="3503914" y="2322710"/>
                    <a:pt x="3504933" y="2322176"/>
                  </a:cubicBezTo>
                  <a:cubicBezTo>
                    <a:pt x="3505905" y="2321662"/>
                    <a:pt x="3506858" y="2321109"/>
                    <a:pt x="3507819" y="2320557"/>
                  </a:cubicBezTo>
                  <a:cubicBezTo>
                    <a:pt x="3508800" y="2319985"/>
                    <a:pt x="3509772" y="2319404"/>
                    <a:pt x="3510724" y="2318795"/>
                  </a:cubicBezTo>
                  <a:cubicBezTo>
                    <a:pt x="3511649" y="2318195"/>
                    <a:pt x="3512525" y="2317566"/>
                    <a:pt x="3513411" y="2316937"/>
                  </a:cubicBezTo>
                  <a:cubicBezTo>
                    <a:pt x="3514354" y="2316271"/>
                    <a:pt x="3515268" y="2315585"/>
                    <a:pt x="3516183" y="2314871"/>
                  </a:cubicBezTo>
                  <a:cubicBezTo>
                    <a:pt x="3517002" y="2314213"/>
                    <a:pt x="3517811" y="2313537"/>
                    <a:pt x="3518611" y="2312842"/>
                  </a:cubicBezTo>
                  <a:cubicBezTo>
                    <a:pt x="3519516" y="2312061"/>
                    <a:pt x="3520402" y="2311261"/>
                    <a:pt x="3521259" y="2310432"/>
                  </a:cubicBezTo>
                  <a:cubicBezTo>
                    <a:pt x="3521983" y="2309737"/>
                    <a:pt x="3522707" y="2309022"/>
                    <a:pt x="3523412" y="2308289"/>
                  </a:cubicBezTo>
                  <a:cubicBezTo>
                    <a:pt x="3524269" y="2307393"/>
                    <a:pt x="3525098" y="2306469"/>
                    <a:pt x="3525917" y="2305526"/>
                  </a:cubicBezTo>
                  <a:cubicBezTo>
                    <a:pt x="3526555" y="2304783"/>
                    <a:pt x="3527184" y="2304040"/>
                    <a:pt x="3527794" y="2303279"/>
                  </a:cubicBezTo>
                  <a:cubicBezTo>
                    <a:pt x="3528584" y="2302278"/>
                    <a:pt x="3529336" y="2301250"/>
                    <a:pt x="3530079" y="2300212"/>
                  </a:cubicBezTo>
                  <a:cubicBezTo>
                    <a:pt x="3530641" y="2299430"/>
                    <a:pt x="3531184" y="2298649"/>
                    <a:pt x="3531718" y="2297849"/>
                  </a:cubicBezTo>
                  <a:cubicBezTo>
                    <a:pt x="3532413" y="2296773"/>
                    <a:pt x="3533080" y="2295668"/>
                    <a:pt x="3533718" y="2294544"/>
                  </a:cubicBezTo>
                  <a:cubicBezTo>
                    <a:pt x="3534204" y="2293706"/>
                    <a:pt x="3534699" y="2292868"/>
                    <a:pt x="3535137" y="2292010"/>
                  </a:cubicBezTo>
                  <a:cubicBezTo>
                    <a:pt x="3535737" y="2290887"/>
                    <a:pt x="3536252" y="2289744"/>
                    <a:pt x="3536794" y="2288591"/>
                  </a:cubicBezTo>
                  <a:cubicBezTo>
                    <a:pt x="3537214" y="2287667"/>
                    <a:pt x="3537642" y="2286762"/>
                    <a:pt x="3538023" y="2285810"/>
                  </a:cubicBezTo>
                  <a:cubicBezTo>
                    <a:pt x="3538490" y="2284686"/>
                    <a:pt x="3538881" y="2283533"/>
                    <a:pt x="3539290" y="2282381"/>
                  </a:cubicBezTo>
                  <a:cubicBezTo>
                    <a:pt x="3539642" y="2281362"/>
                    <a:pt x="3540014" y="2280342"/>
                    <a:pt x="3540328" y="2279295"/>
                  </a:cubicBezTo>
                  <a:cubicBezTo>
                    <a:pt x="3540643" y="2278190"/>
                    <a:pt x="3540900" y="2277056"/>
                    <a:pt x="3541186" y="2275932"/>
                  </a:cubicBezTo>
                  <a:cubicBezTo>
                    <a:pt x="3541462" y="2274799"/>
                    <a:pt x="3541766" y="2273675"/>
                    <a:pt x="3541986" y="2272522"/>
                  </a:cubicBezTo>
                  <a:cubicBezTo>
                    <a:pt x="3542205" y="2271398"/>
                    <a:pt x="3542338" y="2270255"/>
                    <a:pt x="3542509" y="2269112"/>
                  </a:cubicBezTo>
                  <a:cubicBezTo>
                    <a:pt x="3542681" y="2267931"/>
                    <a:pt x="3542881" y="2266769"/>
                    <a:pt x="3542995" y="2265569"/>
                  </a:cubicBezTo>
                  <a:cubicBezTo>
                    <a:pt x="3543014" y="2265398"/>
                    <a:pt x="3543052" y="2265236"/>
                    <a:pt x="3543062" y="2265064"/>
                  </a:cubicBezTo>
                  <a:lnTo>
                    <a:pt x="3578867" y="1854061"/>
                  </a:lnTo>
                  <a:lnTo>
                    <a:pt x="3948075" y="1854061"/>
                  </a:lnTo>
                  <a:cubicBezTo>
                    <a:pt x="4166950" y="1854061"/>
                    <a:pt x="4265667" y="1967465"/>
                    <a:pt x="4370165" y="2087537"/>
                  </a:cubicBezTo>
                  <a:cubicBezTo>
                    <a:pt x="4456395" y="2186607"/>
                    <a:pt x="4552665" y="2297144"/>
                    <a:pt x="4716304" y="2324110"/>
                  </a:cubicBezTo>
                  <a:cubicBezTo>
                    <a:pt x="4695520" y="2543851"/>
                    <a:pt x="4661926" y="2825944"/>
                    <a:pt x="4646895" y="2949464"/>
                  </a:cubicBezTo>
                  <a:close/>
                  <a:moveTo>
                    <a:pt x="4728515" y="2180949"/>
                  </a:moveTo>
                  <a:cubicBezTo>
                    <a:pt x="4622359" y="2159308"/>
                    <a:pt x="4557046" y="2084680"/>
                    <a:pt x="4477922" y="1993773"/>
                  </a:cubicBezTo>
                  <a:cubicBezTo>
                    <a:pt x="4378967" y="1880092"/>
                    <a:pt x="4258161" y="1741361"/>
                    <a:pt x="4026580" y="1715510"/>
                  </a:cubicBezTo>
                  <a:lnTo>
                    <a:pt x="4063537" y="1291190"/>
                  </a:lnTo>
                  <a:cubicBezTo>
                    <a:pt x="4442289" y="1347207"/>
                    <a:pt x="4733906" y="1674371"/>
                    <a:pt x="4733906" y="2068449"/>
                  </a:cubicBezTo>
                  <a:cubicBezTo>
                    <a:pt x="4733906" y="2095224"/>
                    <a:pt x="4731906" y="2134124"/>
                    <a:pt x="4728515" y="2180949"/>
                  </a:cubicBezTo>
                  <a:close/>
                </a:path>
              </a:pathLst>
            </a:custGeom>
            <a:solidFill>
              <a:srgbClr val="00338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342905"/>
              <a:endParaRPr lang="ru-RU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43A046B3-7A90-4A68-B8B9-A519A60548E0}"/>
                </a:ext>
              </a:extLst>
            </p:cNvPr>
            <p:cNvSpPr/>
            <p:nvPr/>
          </p:nvSpPr>
          <p:spPr>
            <a:xfrm>
              <a:off x="5648400" y="4756377"/>
              <a:ext cx="523875" cy="523875"/>
            </a:xfrm>
            <a:custGeom>
              <a:avLst/>
              <a:gdLst>
                <a:gd name="connsiteX0" fmla="*/ 261938 w 523875"/>
                <a:gd name="connsiteY0" fmla="*/ 0 h 523875"/>
                <a:gd name="connsiteX1" fmla="*/ 0 w 523875"/>
                <a:gd name="connsiteY1" fmla="*/ 261938 h 523875"/>
                <a:gd name="connsiteX2" fmla="*/ 261938 w 523875"/>
                <a:gd name="connsiteY2" fmla="*/ 523875 h 523875"/>
                <a:gd name="connsiteX3" fmla="*/ 523875 w 523875"/>
                <a:gd name="connsiteY3" fmla="*/ 261938 h 523875"/>
                <a:gd name="connsiteX4" fmla="*/ 261938 w 523875"/>
                <a:gd name="connsiteY4" fmla="*/ 0 h 523875"/>
                <a:gd name="connsiteX5" fmla="*/ 261938 w 523875"/>
                <a:gd name="connsiteY5" fmla="*/ 381000 h 523875"/>
                <a:gd name="connsiteX6" fmla="*/ 142875 w 523875"/>
                <a:gd name="connsiteY6" fmla="*/ 261938 h 523875"/>
                <a:gd name="connsiteX7" fmla="*/ 261938 w 523875"/>
                <a:gd name="connsiteY7" fmla="*/ 142875 h 523875"/>
                <a:gd name="connsiteX8" fmla="*/ 381000 w 523875"/>
                <a:gd name="connsiteY8" fmla="*/ 261938 h 523875"/>
                <a:gd name="connsiteX9" fmla="*/ 261938 w 523875"/>
                <a:gd name="connsiteY9" fmla="*/ 381000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23875" h="523875">
                  <a:moveTo>
                    <a:pt x="261938" y="0"/>
                  </a:moveTo>
                  <a:cubicBezTo>
                    <a:pt x="117510" y="0"/>
                    <a:pt x="0" y="117500"/>
                    <a:pt x="0" y="261938"/>
                  </a:cubicBezTo>
                  <a:cubicBezTo>
                    <a:pt x="0" y="406375"/>
                    <a:pt x="117510" y="523875"/>
                    <a:pt x="261938" y="523875"/>
                  </a:cubicBezTo>
                  <a:cubicBezTo>
                    <a:pt x="406365" y="523875"/>
                    <a:pt x="523875" y="406375"/>
                    <a:pt x="523875" y="261938"/>
                  </a:cubicBezTo>
                  <a:cubicBezTo>
                    <a:pt x="523875" y="117510"/>
                    <a:pt x="406365" y="0"/>
                    <a:pt x="261938" y="0"/>
                  </a:cubicBezTo>
                  <a:close/>
                  <a:moveTo>
                    <a:pt x="261938" y="381000"/>
                  </a:moveTo>
                  <a:cubicBezTo>
                    <a:pt x="196282" y="381000"/>
                    <a:pt x="142875" y="327593"/>
                    <a:pt x="142875" y="261938"/>
                  </a:cubicBezTo>
                  <a:cubicBezTo>
                    <a:pt x="142875" y="196282"/>
                    <a:pt x="196282" y="142875"/>
                    <a:pt x="261938" y="142875"/>
                  </a:cubicBezTo>
                  <a:cubicBezTo>
                    <a:pt x="327593" y="142875"/>
                    <a:pt x="381000" y="196282"/>
                    <a:pt x="381000" y="261938"/>
                  </a:cubicBezTo>
                  <a:cubicBezTo>
                    <a:pt x="381000" y="327593"/>
                    <a:pt x="327584" y="381000"/>
                    <a:pt x="261938" y="381000"/>
                  </a:cubicBezTo>
                  <a:close/>
                </a:path>
              </a:pathLst>
            </a:custGeom>
            <a:solidFill>
              <a:srgbClr val="00338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342905"/>
              <a:endParaRPr lang="ru-RU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3C255E41-1FBA-4C53-AAA9-21528A4BCD55}"/>
                </a:ext>
              </a:extLst>
            </p:cNvPr>
            <p:cNvSpPr/>
            <p:nvPr/>
          </p:nvSpPr>
          <p:spPr>
            <a:xfrm>
              <a:off x="7872373" y="4756377"/>
              <a:ext cx="523875" cy="523875"/>
            </a:xfrm>
            <a:custGeom>
              <a:avLst/>
              <a:gdLst>
                <a:gd name="connsiteX0" fmla="*/ 261938 w 523875"/>
                <a:gd name="connsiteY0" fmla="*/ 0 h 523875"/>
                <a:gd name="connsiteX1" fmla="*/ 0 w 523875"/>
                <a:gd name="connsiteY1" fmla="*/ 261938 h 523875"/>
                <a:gd name="connsiteX2" fmla="*/ 261938 w 523875"/>
                <a:gd name="connsiteY2" fmla="*/ 523875 h 523875"/>
                <a:gd name="connsiteX3" fmla="*/ 523875 w 523875"/>
                <a:gd name="connsiteY3" fmla="*/ 261938 h 523875"/>
                <a:gd name="connsiteX4" fmla="*/ 261938 w 523875"/>
                <a:gd name="connsiteY4" fmla="*/ 0 h 523875"/>
                <a:gd name="connsiteX5" fmla="*/ 261938 w 523875"/>
                <a:gd name="connsiteY5" fmla="*/ 381000 h 523875"/>
                <a:gd name="connsiteX6" fmla="*/ 142875 w 523875"/>
                <a:gd name="connsiteY6" fmla="*/ 261938 h 523875"/>
                <a:gd name="connsiteX7" fmla="*/ 261938 w 523875"/>
                <a:gd name="connsiteY7" fmla="*/ 142875 h 523875"/>
                <a:gd name="connsiteX8" fmla="*/ 381000 w 523875"/>
                <a:gd name="connsiteY8" fmla="*/ 261938 h 523875"/>
                <a:gd name="connsiteX9" fmla="*/ 261938 w 523875"/>
                <a:gd name="connsiteY9" fmla="*/ 381000 h 523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23875" h="523875">
                  <a:moveTo>
                    <a:pt x="261938" y="0"/>
                  </a:moveTo>
                  <a:cubicBezTo>
                    <a:pt x="117510" y="0"/>
                    <a:pt x="0" y="117500"/>
                    <a:pt x="0" y="261938"/>
                  </a:cubicBezTo>
                  <a:cubicBezTo>
                    <a:pt x="0" y="406375"/>
                    <a:pt x="117510" y="523875"/>
                    <a:pt x="261938" y="523875"/>
                  </a:cubicBezTo>
                  <a:cubicBezTo>
                    <a:pt x="406365" y="523875"/>
                    <a:pt x="523875" y="406375"/>
                    <a:pt x="523875" y="261938"/>
                  </a:cubicBezTo>
                  <a:cubicBezTo>
                    <a:pt x="523875" y="117510"/>
                    <a:pt x="406365" y="0"/>
                    <a:pt x="261938" y="0"/>
                  </a:cubicBezTo>
                  <a:close/>
                  <a:moveTo>
                    <a:pt x="261938" y="381000"/>
                  </a:moveTo>
                  <a:cubicBezTo>
                    <a:pt x="196282" y="381000"/>
                    <a:pt x="142875" y="327593"/>
                    <a:pt x="142875" y="261938"/>
                  </a:cubicBezTo>
                  <a:cubicBezTo>
                    <a:pt x="142875" y="196282"/>
                    <a:pt x="196282" y="142875"/>
                    <a:pt x="261938" y="142875"/>
                  </a:cubicBezTo>
                  <a:cubicBezTo>
                    <a:pt x="327593" y="142875"/>
                    <a:pt x="381000" y="196282"/>
                    <a:pt x="381000" y="261938"/>
                  </a:cubicBezTo>
                  <a:cubicBezTo>
                    <a:pt x="381000" y="327593"/>
                    <a:pt x="327593" y="381000"/>
                    <a:pt x="261938" y="381000"/>
                  </a:cubicBezTo>
                  <a:close/>
                </a:path>
              </a:pathLst>
            </a:custGeom>
            <a:solidFill>
              <a:srgbClr val="00338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342905"/>
              <a:endParaRPr lang="ru-RU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889D3159-697E-4645-AA98-8DB1B10AC4A8}"/>
                </a:ext>
              </a:extLst>
            </p:cNvPr>
            <p:cNvSpPr/>
            <p:nvPr/>
          </p:nvSpPr>
          <p:spPr>
            <a:xfrm>
              <a:off x="4537080" y="3137156"/>
              <a:ext cx="492118" cy="142875"/>
            </a:xfrm>
            <a:custGeom>
              <a:avLst/>
              <a:gdLst>
                <a:gd name="connsiteX0" fmla="*/ 420681 w 492118"/>
                <a:gd name="connsiteY0" fmla="*/ 0 h 142875"/>
                <a:gd name="connsiteX1" fmla="*/ 71438 w 492118"/>
                <a:gd name="connsiteY1" fmla="*/ 0 h 142875"/>
                <a:gd name="connsiteX2" fmla="*/ 0 w 492118"/>
                <a:gd name="connsiteY2" fmla="*/ 71438 h 142875"/>
                <a:gd name="connsiteX3" fmla="*/ 71438 w 492118"/>
                <a:gd name="connsiteY3" fmla="*/ 142875 h 142875"/>
                <a:gd name="connsiteX4" fmla="*/ 420681 w 492118"/>
                <a:gd name="connsiteY4" fmla="*/ 142875 h 142875"/>
                <a:gd name="connsiteX5" fmla="*/ 492119 w 492118"/>
                <a:gd name="connsiteY5" fmla="*/ 71438 h 142875"/>
                <a:gd name="connsiteX6" fmla="*/ 420681 w 492118"/>
                <a:gd name="connsiteY6" fmla="*/ 0 h 142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92118" h="142875">
                  <a:moveTo>
                    <a:pt x="420681" y="0"/>
                  </a:moveTo>
                  <a:lnTo>
                    <a:pt x="71438" y="0"/>
                  </a:lnTo>
                  <a:cubicBezTo>
                    <a:pt x="31975" y="0"/>
                    <a:pt x="0" y="31985"/>
                    <a:pt x="0" y="71438"/>
                  </a:cubicBezTo>
                  <a:cubicBezTo>
                    <a:pt x="0" y="110890"/>
                    <a:pt x="31975" y="142875"/>
                    <a:pt x="71438" y="142875"/>
                  </a:cubicBezTo>
                  <a:lnTo>
                    <a:pt x="420681" y="142875"/>
                  </a:lnTo>
                  <a:cubicBezTo>
                    <a:pt x="460143" y="142875"/>
                    <a:pt x="492119" y="110890"/>
                    <a:pt x="492119" y="71438"/>
                  </a:cubicBezTo>
                  <a:cubicBezTo>
                    <a:pt x="492119" y="31985"/>
                    <a:pt x="460143" y="0"/>
                    <a:pt x="420681" y="0"/>
                  </a:cubicBezTo>
                  <a:close/>
                </a:path>
              </a:pathLst>
            </a:custGeom>
            <a:solidFill>
              <a:srgbClr val="00338D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342905"/>
              <a:endParaRPr lang="ru-RU">
                <a:solidFill>
                  <a:prstClr val="black"/>
                </a:solidFill>
                <a:latin typeface="Calibri" panose="020F0502020204030204"/>
              </a:endParaRPr>
            </a:p>
          </p:txBody>
        </p:sp>
      </p:grpSp>
      <p:grpSp>
        <p:nvGrpSpPr>
          <p:cNvPr id="81" name="Graphic 220">
            <a:extLst>
              <a:ext uri="{FF2B5EF4-FFF2-40B4-BE49-F238E27FC236}">
                <a16:creationId xmlns:a16="http://schemas.microsoft.com/office/drawing/2014/main" id="{5A9A84E9-88C3-46C0-9D1C-C60CA4A358AC}"/>
              </a:ext>
            </a:extLst>
          </p:cNvPr>
          <p:cNvGrpSpPr/>
          <p:nvPr/>
        </p:nvGrpSpPr>
        <p:grpSpPr>
          <a:xfrm>
            <a:off x="3825860" y="2576509"/>
            <a:ext cx="276952" cy="154657"/>
            <a:chOff x="4281487" y="2418664"/>
            <a:chExt cx="4879047" cy="2724582"/>
          </a:xfrm>
          <a:solidFill>
            <a:srgbClr val="000000"/>
          </a:solidFill>
        </p:grpSpPr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249B8AF2-F02E-4B2C-A6E9-0E509727D843}"/>
                </a:ext>
              </a:extLst>
            </p:cNvPr>
            <p:cNvSpPr/>
            <p:nvPr/>
          </p:nvSpPr>
          <p:spPr>
            <a:xfrm>
              <a:off x="4954915" y="4442020"/>
              <a:ext cx="414355" cy="414355"/>
            </a:xfrm>
            <a:custGeom>
              <a:avLst/>
              <a:gdLst>
                <a:gd name="connsiteX0" fmla="*/ 207178 w 414355"/>
                <a:gd name="connsiteY0" fmla="*/ 0 h 414355"/>
                <a:gd name="connsiteX1" fmla="*/ 0 w 414355"/>
                <a:gd name="connsiteY1" fmla="*/ 207178 h 414355"/>
                <a:gd name="connsiteX2" fmla="*/ 207178 w 414355"/>
                <a:gd name="connsiteY2" fmla="*/ 414356 h 414355"/>
                <a:gd name="connsiteX3" fmla="*/ 414356 w 414355"/>
                <a:gd name="connsiteY3" fmla="*/ 207178 h 414355"/>
                <a:gd name="connsiteX4" fmla="*/ 207178 w 414355"/>
                <a:gd name="connsiteY4" fmla="*/ 0 h 414355"/>
                <a:gd name="connsiteX5" fmla="*/ 207178 w 414355"/>
                <a:gd name="connsiteY5" fmla="*/ 270911 h 414355"/>
                <a:gd name="connsiteX6" fmla="*/ 143435 w 414355"/>
                <a:gd name="connsiteY6" fmla="*/ 207168 h 414355"/>
                <a:gd name="connsiteX7" fmla="*/ 207178 w 414355"/>
                <a:gd name="connsiteY7" fmla="*/ 143426 h 414355"/>
                <a:gd name="connsiteX8" fmla="*/ 270921 w 414355"/>
                <a:gd name="connsiteY8" fmla="*/ 207168 h 414355"/>
                <a:gd name="connsiteX9" fmla="*/ 207178 w 414355"/>
                <a:gd name="connsiteY9" fmla="*/ 270911 h 4143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14355" h="414355">
                  <a:moveTo>
                    <a:pt x="207178" y="0"/>
                  </a:moveTo>
                  <a:cubicBezTo>
                    <a:pt x="92946" y="0"/>
                    <a:pt x="0" y="92936"/>
                    <a:pt x="0" y="207178"/>
                  </a:cubicBezTo>
                  <a:cubicBezTo>
                    <a:pt x="0" y="321410"/>
                    <a:pt x="92936" y="414356"/>
                    <a:pt x="207178" y="414356"/>
                  </a:cubicBezTo>
                  <a:cubicBezTo>
                    <a:pt x="321419" y="414356"/>
                    <a:pt x="414356" y="321419"/>
                    <a:pt x="414356" y="207178"/>
                  </a:cubicBezTo>
                  <a:cubicBezTo>
                    <a:pt x="414346" y="92936"/>
                    <a:pt x="321410" y="0"/>
                    <a:pt x="207178" y="0"/>
                  </a:cubicBezTo>
                  <a:close/>
                  <a:moveTo>
                    <a:pt x="207178" y="270911"/>
                  </a:moveTo>
                  <a:cubicBezTo>
                    <a:pt x="172036" y="270911"/>
                    <a:pt x="143435" y="242320"/>
                    <a:pt x="143435" y="207168"/>
                  </a:cubicBezTo>
                  <a:cubicBezTo>
                    <a:pt x="143435" y="172017"/>
                    <a:pt x="172027" y="143426"/>
                    <a:pt x="207178" y="143426"/>
                  </a:cubicBezTo>
                  <a:cubicBezTo>
                    <a:pt x="242329" y="143426"/>
                    <a:pt x="270921" y="172017"/>
                    <a:pt x="270921" y="207168"/>
                  </a:cubicBezTo>
                  <a:cubicBezTo>
                    <a:pt x="270911" y="242320"/>
                    <a:pt x="242320" y="270911"/>
                    <a:pt x="207178" y="270911"/>
                  </a:cubicBezTo>
                  <a:close/>
                </a:path>
              </a:pathLst>
            </a:custGeom>
            <a:solidFill>
              <a:srgbClr val="00338D"/>
            </a:solidFill>
            <a:ln w="956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342905"/>
              <a:endParaRPr lang="ru-RU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F9262541-E160-4AB3-B94A-F2B6AF621902}"/>
                </a:ext>
              </a:extLst>
            </p:cNvPr>
            <p:cNvSpPr/>
            <p:nvPr/>
          </p:nvSpPr>
          <p:spPr>
            <a:xfrm>
              <a:off x="8097410" y="4442020"/>
              <a:ext cx="414355" cy="414355"/>
            </a:xfrm>
            <a:custGeom>
              <a:avLst/>
              <a:gdLst>
                <a:gd name="connsiteX0" fmla="*/ 207178 w 414355"/>
                <a:gd name="connsiteY0" fmla="*/ 0 h 414355"/>
                <a:gd name="connsiteX1" fmla="*/ 0 w 414355"/>
                <a:gd name="connsiteY1" fmla="*/ 207178 h 414355"/>
                <a:gd name="connsiteX2" fmla="*/ 207178 w 414355"/>
                <a:gd name="connsiteY2" fmla="*/ 414356 h 414355"/>
                <a:gd name="connsiteX3" fmla="*/ 414356 w 414355"/>
                <a:gd name="connsiteY3" fmla="*/ 207178 h 414355"/>
                <a:gd name="connsiteX4" fmla="*/ 207178 w 414355"/>
                <a:gd name="connsiteY4" fmla="*/ 0 h 414355"/>
                <a:gd name="connsiteX5" fmla="*/ 207178 w 414355"/>
                <a:gd name="connsiteY5" fmla="*/ 270911 h 414355"/>
                <a:gd name="connsiteX6" fmla="*/ 143435 w 414355"/>
                <a:gd name="connsiteY6" fmla="*/ 207168 h 414355"/>
                <a:gd name="connsiteX7" fmla="*/ 207178 w 414355"/>
                <a:gd name="connsiteY7" fmla="*/ 143426 h 414355"/>
                <a:gd name="connsiteX8" fmla="*/ 270921 w 414355"/>
                <a:gd name="connsiteY8" fmla="*/ 207168 h 414355"/>
                <a:gd name="connsiteX9" fmla="*/ 207178 w 414355"/>
                <a:gd name="connsiteY9" fmla="*/ 270911 h 4143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414355" h="414355">
                  <a:moveTo>
                    <a:pt x="207178" y="0"/>
                  </a:moveTo>
                  <a:cubicBezTo>
                    <a:pt x="92946" y="0"/>
                    <a:pt x="0" y="92936"/>
                    <a:pt x="0" y="207178"/>
                  </a:cubicBezTo>
                  <a:cubicBezTo>
                    <a:pt x="0" y="321410"/>
                    <a:pt x="92936" y="414356"/>
                    <a:pt x="207178" y="414356"/>
                  </a:cubicBezTo>
                  <a:cubicBezTo>
                    <a:pt x="321419" y="414356"/>
                    <a:pt x="414356" y="321419"/>
                    <a:pt x="414356" y="207178"/>
                  </a:cubicBezTo>
                  <a:cubicBezTo>
                    <a:pt x="414356" y="92936"/>
                    <a:pt x="321410" y="0"/>
                    <a:pt x="207178" y="0"/>
                  </a:cubicBezTo>
                  <a:close/>
                  <a:moveTo>
                    <a:pt x="207178" y="270911"/>
                  </a:moveTo>
                  <a:cubicBezTo>
                    <a:pt x="172036" y="270911"/>
                    <a:pt x="143435" y="242320"/>
                    <a:pt x="143435" y="207168"/>
                  </a:cubicBezTo>
                  <a:cubicBezTo>
                    <a:pt x="143435" y="172017"/>
                    <a:pt x="172027" y="143426"/>
                    <a:pt x="207178" y="143426"/>
                  </a:cubicBezTo>
                  <a:cubicBezTo>
                    <a:pt x="242329" y="143426"/>
                    <a:pt x="270921" y="172017"/>
                    <a:pt x="270921" y="207168"/>
                  </a:cubicBezTo>
                  <a:cubicBezTo>
                    <a:pt x="270921" y="242320"/>
                    <a:pt x="242320" y="270911"/>
                    <a:pt x="207178" y="270911"/>
                  </a:cubicBezTo>
                  <a:close/>
                </a:path>
              </a:pathLst>
            </a:custGeom>
            <a:solidFill>
              <a:srgbClr val="00338D"/>
            </a:solidFill>
            <a:ln w="956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342905"/>
              <a:endParaRPr lang="ru-RU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651F4152-2660-4B74-BCB0-53D776476A2E}"/>
                </a:ext>
              </a:extLst>
            </p:cNvPr>
            <p:cNvSpPr/>
            <p:nvPr/>
          </p:nvSpPr>
          <p:spPr>
            <a:xfrm>
              <a:off x="4281487" y="2418664"/>
              <a:ext cx="4879047" cy="2724582"/>
            </a:xfrm>
            <a:custGeom>
              <a:avLst/>
              <a:gdLst>
                <a:gd name="connsiteX0" fmla="*/ 4695488 w 4879047"/>
                <a:gd name="connsiteY0" fmla="*/ 1619442 h 2724582"/>
                <a:gd name="connsiteX1" fmla="*/ 4695488 w 4879047"/>
                <a:gd name="connsiteY1" fmla="*/ 1618954 h 2724582"/>
                <a:gd name="connsiteX2" fmla="*/ 4695488 w 4879047"/>
                <a:gd name="connsiteY2" fmla="*/ 969403 h 2724582"/>
                <a:gd name="connsiteX3" fmla="*/ 4632530 w 4879047"/>
                <a:gd name="connsiteY3" fmla="*/ 737716 h 2724582"/>
                <a:gd name="connsiteX4" fmla="*/ 4549366 w 4879047"/>
                <a:gd name="connsiteY4" fmla="*/ 595993 h 2724582"/>
                <a:gd name="connsiteX5" fmla="*/ 4451218 w 4879047"/>
                <a:gd name="connsiteY5" fmla="*/ 570442 h 2724582"/>
                <a:gd name="connsiteX6" fmla="*/ 4425667 w 4879047"/>
                <a:gd name="connsiteY6" fmla="*/ 668590 h 2724582"/>
                <a:gd name="connsiteX7" fmla="*/ 4508831 w 4879047"/>
                <a:gd name="connsiteY7" fmla="*/ 810314 h 2724582"/>
                <a:gd name="connsiteX8" fmla="*/ 4552063 w 4879047"/>
                <a:gd name="connsiteY8" fmla="*/ 969412 h 2724582"/>
                <a:gd name="connsiteX9" fmla="*/ 4552063 w 4879047"/>
                <a:gd name="connsiteY9" fmla="*/ 980399 h 2724582"/>
                <a:gd name="connsiteX10" fmla="*/ 4408054 w 4879047"/>
                <a:gd name="connsiteY10" fmla="*/ 980399 h 2724582"/>
                <a:gd name="connsiteX11" fmla="*/ 4257580 w 4879047"/>
                <a:gd name="connsiteY11" fmla="*/ 1130873 h 2724582"/>
                <a:gd name="connsiteX12" fmla="*/ 4257580 w 4879047"/>
                <a:gd name="connsiteY12" fmla="*/ 1540199 h 2724582"/>
                <a:gd name="connsiteX13" fmla="*/ 4408054 w 4879047"/>
                <a:gd name="connsiteY13" fmla="*/ 1690672 h 2724582"/>
                <a:gd name="connsiteX14" fmla="*/ 4552675 w 4879047"/>
                <a:gd name="connsiteY14" fmla="*/ 1690672 h 2724582"/>
                <a:gd name="connsiteX15" fmla="*/ 4623780 w 4879047"/>
                <a:gd name="connsiteY15" fmla="*/ 1753449 h 2724582"/>
                <a:gd name="connsiteX16" fmla="*/ 4627127 w 4879047"/>
                <a:gd name="connsiteY16" fmla="*/ 1753449 h 2724582"/>
                <a:gd name="connsiteX17" fmla="*/ 4735612 w 4879047"/>
                <a:gd name="connsiteY17" fmla="*/ 1861934 h 2724582"/>
                <a:gd name="connsiteX18" fmla="*/ 4735612 w 4879047"/>
                <a:gd name="connsiteY18" fmla="*/ 1978135 h 2724582"/>
                <a:gd name="connsiteX19" fmla="*/ 4447585 w 4879047"/>
                <a:gd name="connsiteY19" fmla="*/ 1978135 h 2724582"/>
                <a:gd name="connsiteX20" fmla="*/ 4023102 w 4879047"/>
                <a:gd name="connsiteY20" fmla="*/ 1736495 h 2724582"/>
                <a:gd name="connsiteX21" fmla="*/ 3598620 w 4879047"/>
                <a:gd name="connsiteY21" fmla="*/ 1978135 h 2724582"/>
                <a:gd name="connsiteX22" fmla="*/ 2877982 w 4879047"/>
                <a:gd name="connsiteY22" fmla="*/ 1978135 h 2724582"/>
                <a:gd name="connsiteX23" fmla="*/ 2967571 w 4879047"/>
                <a:gd name="connsiteY23" fmla="*/ 1778320 h 2724582"/>
                <a:gd name="connsiteX24" fmla="*/ 2982431 w 4879047"/>
                <a:gd name="connsiteY24" fmla="*/ 1708850 h 2724582"/>
                <a:gd name="connsiteX25" fmla="*/ 2982431 w 4879047"/>
                <a:gd name="connsiteY25" fmla="*/ 1123835 h 2724582"/>
                <a:gd name="connsiteX26" fmla="*/ 3461782 w 4879047"/>
                <a:gd name="connsiteY26" fmla="*/ 1123835 h 2724582"/>
                <a:gd name="connsiteX27" fmla="*/ 3533500 w 4879047"/>
                <a:gd name="connsiteY27" fmla="*/ 1052117 h 2724582"/>
                <a:gd name="connsiteX28" fmla="*/ 3461782 w 4879047"/>
                <a:gd name="connsiteY28" fmla="*/ 980399 h 2724582"/>
                <a:gd name="connsiteX29" fmla="*/ 3125905 w 4879047"/>
                <a:gd name="connsiteY29" fmla="*/ 980399 h 2724582"/>
                <a:gd name="connsiteX30" fmla="*/ 3125905 w 4879047"/>
                <a:gd name="connsiteY30" fmla="*/ 430325 h 2724582"/>
                <a:gd name="connsiteX31" fmla="*/ 3912762 w 4879047"/>
                <a:gd name="connsiteY31" fmla="*/ 430325 h 2724582"/>
                <a:gd name="connsiteX32" fmla="*/ 3912179 w 4879047"/>
                <a:gd name="connsiteY32" fmla="*/ 980399 h 2724582"/>
                <a:gd name="connsiteX33" fmla="*/ 3767414 w 4879047"/>
                <a:gd name="connsiteY33" fmla="*/ 980399 h 2724582"/>
                <a:gd name="connsiteX34" fmla="*/ 3695697 w 4879047"/>
                <a:gd name="connsiteY34" fmla="*/ 1052117 h 2724582"/>
                <a:gd name="connsiteX35" fmla="*/ 3767414 w 4879047"/>
                <a:gd name="connsiteY35" fmla="*/ 1123835 h 2724582"/>
                <a:gd name="connsiteX36" fmla="*/ 3912179 w 4879047"/>
                <a:gd name="connsiteY36" fmla="*/ 1123835 h 2724582"/>
                <a:gd name="connsiteX37" fmla="*/ 4056226 w 4879047"/>
                <a:gd name="connsiteY37" fmla="*/ 979787 h 2724582"/>
                <a:gd name="connsiteX38" fmla="*/ 4056226 w 4879047"/>
                <a:gd name="connsiteY38" fmla="*/ 405243 h 2724582"/>
                <a:gd name="connsiteX39" fmla="*/ 3937481 w 4879047"/>
                <a:gd name="connsiteY39" fmla="*/ 286890 h 2724582"/>
                <a:gd name="connsiteX40" fmla="*/ 2268621 w 4879047"/>
                <a:gd name="connsiteY40" fmla="*/ 286890 h 2724582"/>
                <a:gd name="connsiteX41" fmla="*/ 2189827 w 4879047"/>
                <a:gd name="connsiteY41" fmla="*/ 316371 h 2724582"/>
                <a:gd name="connsiteX42" fmla="*/ 1406374 w 4879047"/>
                <a:gd name="connsiteY42" fmla="*/ 998013 h 2724582"/>
                <a:gd name="connsiteX43" fmla="*/ 1386273 w 4879047"/>
                <a:gd name="connsiteY43" fmla="*/ 1077247 h 2724582"/>
                <a:gd name="connsiteX44" fmla="*/ 1453439 w 4879047"/>
                <a:gd name="connsiteY44" fmla="*/ 1123835 h 2724582"/>
                <a:gd name="connsiteX45" fmla="*/ 2838977 w 4879047"/>
                <a:gd name="connsiteY45" fmla="*/ 1123835 h 2724582"/>
                <a:gd name="connsiteX46" fmla="*/ 2838977 w 4879047"/>
                <a:gd name="connsiteY46" fmla="*/ 1708850 h 2724582"/>
                <a:gd name="connsiteX47" fmla="*/ 2836672 w 4879047"/>
                <a:gd name="connsiteY47" fmla="*/ 1719636 h 2724582"/>
                <a:gd name="connsiteX48" fmla="*/ 2720776 w 4879047"/>
                <a:gd name="connsiteY48" fmla="*/ 1978135 h 2724582"/>
                <a:gd name="connsiteX49" fmla="*/ 1903262 w 4879047"/>
                <a:gd name="connsiteY49" fmla="*/ 1978135 h 2724582"/>
                <a:gd name="connsiteX50" fmla="*/ 1831544 w 4879047"/>
                <a:gd name="connsiteY50" fmla="*/ 2049853 h 2724582"/>
                <a:gd name="connsiteX51" fmla="*/ 1903262 w 4879047"/>
                <a:gd name="connsiteY51" fmla="*/ 2121571 h 2724582"/>
                <a:gd name="connsiteX52" fmla="*/ 3541303 w 4879047"/>
                <a:gd name="connsiteY52" fmla="*/ 2121571 h 2724582"/>
                <a:gd name="connsiteX53" fmla="*/ 3529044 w 4879047"/>
                <a:gd name="connsiteY53" fmla="*/ 2230543 h 2724582"/>
                <a:gd name="connsiteX54" fmla="*/ 3530478 w 4879047"/>
                <a:gd name="connsiteY54" fmla="*/ 2266249 h 2724582"/>
                <a:gd name="connsiteX55" fmla="*/ 1373211 w 4879047"/>
                <a:gd name="connsiteY55" fmla="*/ 2266249 h 2724582"/>
                <a:gd name="connsiteX56" fmla="*/ 1374646 w 4879047"/>
                <a:gd name="connsiteY56" fmla="*/ 2230543 h 2724582"/>
                <a:gd name="connsiteX57" fmla="*/ 1362387 w 4879047"/>
                <a:gd name="connsiteY57" fmla="*/ 2121571 h 2724582"/>
                <a:gd name="connsiteX58" fmla="*/ 1597640 w 4879047"/>
                <a:gd name="connsiteY58" fmla="*/ 2121571 h 2724582"/>
                <a:gd name="connsiteX59" fmla="*/ 1669357 w 4879047"/>
                <a:gd name="connsiteY59" fmla="*/ 2049853 h 2724582"/>
                <a:gd name="connsiteX60" fmla="*/ 1597640 w 4879047"/>
                <a:gd name="connsiteY60" fmla="*/ 1978135 h 2724582"/>
                <a:gd name="connsiteX61" fmla="*/ 1305080 w 4879047"/>
                <a:gd name="connsiteY61" fmla="*/ 1978135 h 2724582"/>
                <a:gd name="connsiteX62" fmla="*/ 1087775 w 4879047"/>
                <a:gd name="connsiteY62" fmla="*/ 1782193 h 2724582"/>
                <a:gd name="connsiteX63" fmla="*/ 1087775 w 4879047"/>
                <a:gd name="connsiteY63" fmla="*/ 1085078 h 2724582"/>
                <a:gd name="connsiteX64" fmla="*/ 2116971 w 4879047"/>
                <a:gd name="connsiteY64" fmla="*/ 189621 h 2724582"/>
                <a:gd name="connsiteX65" fmla="*/ 2240392 w 4879047"/>
                <a:gd name="connsiteY65" fmla="*/ 143445 h 2724582"/>
                <a:gd name="connsiteX66" fmla="*/ 3937471 w 4879047"/>
                <a:gd name="connsiteY66" fmla="*/ 143445 h 2724582"/>
                <a:gd name="connsiteX67" fmla="*/ 4208583 w 4879047"/>
                <a:gd name="connsiteY67" fmla="*/ 298690 h 2724582"/>
                <a:gd name="connsiteX68" fmla="*/ 4270777 w 4879047"/>
                <a:gd name="connsiteY68" fmla="*/ 404679 h 2724582"/>
                <a:gd name="connsiteX69" fmla="*/ 4368934 w 4879047"/>
                <a:gd name="connsiteY69" fmla="*/ 430239 h 2724582"/>
                <a:gd name="connsiteX70" fmla="*/ 4394494 w 4879047"/>
                <a:gd name="connsiteY70" fmla="*/ 332081 h 2724582"/>
                <a:gd name="connsiteX71" fmla="*/ 4332301 w 4879047"/>
                <a:gd name="connsiteY71" fmla="*/ 226092 h 2724582"/>
                <a:gd name="connsiteX72" fmla="*/ 3937481 w 4879047"/>
                <a:gd name="connsiteY72" fmla="*/ 0 h 2724582"/>
                <a:gd name="connsiteX73" fmla="*/ 2240402 w 4879047"/>
                <a:gd name="connsiteY73" fmla="*/ 0 h 2724582"/>
                <a:gd name="connsiteX74" fmla="*/ 2022830 w 4879047"/>
                <a:gd name="connsiteY74" fmla="*/ 81404 h 2724582"/>
                <a:gd name="connsiteX75" fmla="*/ 989235 w 4879047"/>
                <a:gd name="connsiteY75" fmla="*/ 980686 h 2724582"/>
                <a:gd name="connsiteX76" fmla="*/ 503812 w 4879047"/>
                <a:gd name="connsiteY76" fmla="*/ 980686 h 2724582"/>
                <a:gd name="connsiteX77" fmla="*/ 0 w 4879047"/>
                <a:gd name="connsiteY77" fmla="*/ 1484508 h 2724582"/>
                <a:gd name="connsiteX78" fmla="*/ 0 w 4879047"/>
                <a:gd name="connsiteY78" fmla="*/ 2255109 h 2724582"/>
                <a:gd name="connsiteX79" fmla="*/ 154566 w 4879047"/>
                <a:gd name="connsiteY79" fmla="*/ 2409675 h 2724582"/>
                <a:gd name="connsiteX80" fmla="*/ 420323 w 4879047"/>
                <a:gd name="connsiteY80" fmla="*/ 2409675 h 2724582"/>
                <a:gd name="connsiteX81" fmla="*/ 880607 w 4879047"/>
                <a:gd name="connsiteY81" fmla="*/ 2724582 h 2724582"/>
                <a:gd name="connsiteX82" fmla="*/ 1340891 w 4879047"/>
                <a:gd name="connsiteY82" fmla="*/ 2409675 h 2724582"/>
                <a:gd name="connsiteX83" fmla="*/ 3562818 w 4879047"/>
                <a:gd name="connsiteY83" fmla="*/ 2409675 h 2724582"/>
                <a:gd name="connsiteX84" fmla="*/ 4023102 w 4879047"/>
                <a:gd name="connsiteY84" fmla="*/ 2724582 h 2724582"/>
                <a:gd name="connsiteX85" fmla="*/ 4483396 w 4879047"/>
                <a:gd name="connsiteY85" fmla="*/ 2409675 h 2724582"/>
                <a:gd name="connsiteX86" fmla="*/ 4724013 w 4879047"/>
                <a:gd name="connsiteY86" fmla="*/ 2409675 h 2724582"/>
                <a:gd name="connsiteX87" fmla="*/ 4879047 w 4879047"/>
                <a:gd name="connsiteY87" fmla="*/ 2254650 h 2724582"/>
                <a:gd name="connsiteX88" fmla="*/ 4879047 w 4879047"/>
                <a:gd name="connsiteY88" fmla="*/ 1861934 h 2724582"/>
                <a:gd name="connsiteX89" fmla="*/ 4695488 w 4879047"/>
                <a:gd name="connsiteY89" fmla="*/ 1619442 h 2724582"/>
                <a:gd name="connsiteX90" fmla="*/ 4408044 w 4879047"/>
                <a:gd name="connsiteY90" fmla="*/ 1123825 h 2724582"/>
                <a:gd name="connsiteX91" fmla="*/ 4552053 w 4879047"/>
                <a:gd name="connsiteY91" fmla="*/ 1123825 h 2724582"/>
                <a:gd name="connsiteX92" fmla="*/ 4552053 w 4879047"/>
                <a:gd name="connsiteY92" fmla="*/ 1263808 h 2724582"/>
                <a:gd name="connsiteX93" fmla="*/ 4401016 w 4879047"/>
                <a:gd name="connsiteY93" fmla="*/ 1263808 h 2724582"/>
                <a:gd name="connsiteX94" fmla="*/ 4401016 w 4879047"/>
                <a:gd name="connsiteY94" fmla="*/ 1130863 h 2724582"/>
                <a:gd name="connsiteX95" fmla="*/ 4408044 w 4879047"/>
                <a:gd name="connsiteY95" fmla="*/ 1123825 h 2724582"/>
                <a:gd name="connsiteX96" fmla="*/ 4401016 w 4879047"/>
                <a:gd name="connsiteY96" fmla="*/ 1540199 h 2724582"/>
                <a:gd name="connsiteX97" fmla="*/ 4401016 w 4879047"/>
                <a:gd name="connsiteY97" fmla="*/ 1407253 h 2724582"/>
                <a:gd name="connsiteX98" fmla="*/ 4552053 w 4879047"/>
                <a:gd name="connsiteY98" fmla="*/ 1407253 h 2724582"/>
                <a:gd name="connsiteX99" fmla="*/ 4552053 w 4879047"/>
                <a:gd name="connsiteY99" fmla="*/ 1547237 h 2724582"/>
                <a:gd name="connsiteX100" fmla="*/ 4408044 w 4879047"/>
                <a:gd name="connsiteY100" fmla="*/ 1547237 h 2724582"/>
                <a:gd name="connsiteX101" fmla="*/ 4401016 w 4879047"/>
                <a:gd name="connsiteY101" fmla="*/ 1540199 h 2724582"/>
                <a:gd name="connsiteX102" fmla="*/ 2838948 w 4879047"/>
                <a:gd name="connsiteY102" fmla="*/ 430316 h 2724582"/>
                <a:gd name="connsiteX103" fmla="*/ 2982469 w 4879047"/>
                <a:gd name="connsiteY103" fmla="*/ 430316 h 2724582"/>
                <a:gd name="connsiteX104" fmla="*/ 2982469 w 4879047"/>
                <a:gd name="connsiteY104" fmla="*/ 980390 h 2724582"/>
                <a:gd name="connsiteX105" fmla="*/ 2838948 w 4879047"/>
                <a:gd name="connsiteY105" fmla="*/ 980390 h 2724582"/>
                <a:gd name="connsiteX106" fmla="*/ 2277380 w 4879047"/>
                <a:gd name="connsiteY106" fmla="*/ 430316 h 2724582"/>
                <a:gd name="connsiteX107" fmla="*/ 2695522 w 4879047"/>
                <a:gd name="connsiteY107" fmla="*/ 430316 h 2724582"/>
                <a:gd name="connsiteX108" fmla="*/ 2695522 w 4879047"/>
                <a:gd name="connsiteY108" fmla="*/ 980390 h 2724582"/>
                <a:gd name="connsiteX109" fmla="*/ 1645146 w 4879047"/>
                <a:gd name="connsiteY109" fmla="*/ 980390 h 2724582"/>
                <a:gd name="connsiteX110" fmla="*/ 944340 w 4879047"/>
                <a:gd name="connsiteY110" fmla="*/ 1124131 h 2724582"/>
                <a:gd name="connsiteX111" fmla="*/ 944340 w 4879047"/>
                <a:gd name="connsiteY111" fmla="*/ 1740740 h 2724582"/>
                <a:gd name="connsiteX112" fmla="*/ 880597 w 4879047"/>
                <a:gd name="connsiteY112" fmla="*/ 1736495 h 2724582"/>
                <a:gd name="connsiteX113" fmla="*/ 455904 w 4879047"/>
                <a:gd name="connsiteY113" fmla="*/ 1978499 h 2724582"/>
                <a:gd name="connsiteX114" fmla="*/ 448704 w 4879047"/>
                <a:gd name="connsiteY114" fmla="*/ 1978135 h 2724582"/>
                <a:gd name="connsiteX115" fmla="*/ 143435 w 4879047"/>
                <a:gd name="connsiteY115" fmla="*/ 1978135 h 2724582"/>
                <a:gd name="connsiteX116" fmla="*/ 143435 w 4879047"/>
                <a:gd name="connsiteY116" fmla="*/ 1615550 h 2724582"/>
                <a:gd name="connsiteX117" fmla="*/ 338488 w 4879047"/>
                <a:gd name="connsiteY117" fmla="*/ 1615550 h 2724582"/>
                <a:gd name="connsiteX118" fmla="*/ 554856 w 4879047"/>
                <a:gd name="connsiteY118" fmla="*/ 1399173 h 2724582"/>
                <a:gd name="connsiteX119" fmla="*/ 338488 w 4879047"/>
                <a:gd name="connsiteY119" fmla="*/ 1182806 h 2724582"/>
                <a:gd name="connsiteX120" fmla="*/ 307085 w 4879047"/>
                <a:gd name="connsiteY120" fmla="*/ 1182806 h 2724582"/>
                <a:gd name="connsiteX121" fmla="*/ 503812 w 4879047"/>
                <a:gd name="connsiteY121" fmla="*/ 1124141 h 2724582"/>
                <a:gd name="connsiteX122" fmla="*/ 944340 w 4879047"/>
                <a:gd name="connsiteY122" fmla="*/ 1124141 h 2724582"/>
                <a:gd name="connsiteX123" fmla="*/ 338488 w 4879047"/>
                <a:gd name="connsiteY123" fmla="*/ 1326222 h 2724582"/>
                <a:gd name="connsiteX124" fmla="*/ 411420 w 4879047"/>
                <a:gd name="connsiteY124" fmla="*/ 1399154 h 2724582"/>
                <a:gd name="connsiteX125" fmla="*/ 338488 w 4879047"/>
                <a:gd name="connsiteY125" fmla="*/ 1472096 h 2724582"/>
                <a:gd name="connsiteX126" fmla="*/ 143751 w 4879047"/>
                <a:gd name="connsiteY126" fmla="*/ 1472096 h 2724582"/>
                <a:gd name="connsiteX127" fmla="*/ 180145 w 4879047"/>
                <a:gd name="connsiteY127" fmla="*/ 1326222 h 2724582"/>
                <a:gd name="connsiteX128" fmla="*/ 154566 w 4879047"/>
                <a:gd name="connsiteY128" fmla="*/ 2266239 h 2724582"/>
                <a:gd name="connsiteX129" fmla="*/ 143435 w 4879047"/>
                <a:gd name="connsiteY129" fmla="*/ 2255109 h 2724582"/>
                <a:gd name="connsiteX130" fmla="*/ 143435 w 4879047"/>
                <a:gd name="connsiteY130" fmla="*/ 2121561 h 2724582"/>
                <a:gd name="connsiteX131" fmla="*/ 398817 w 4879047"/>
                <a:gd name="connsiteY131" fmla="*/ 2121561 h 2724582"/>
                <a:gd name="connsiteX132" fmla="*/ 386558 w 4879047"/>
                <a:gd name="connsiteY132" fmla="*/ 2230534 h 2724582"/>
                <a:gd name="connsiteX133" fmla="*/ 387992 w 4879047"/>
                <a:gd name="connsiteY133" fmla="*/ 2266239 h 2724582"/>
                <a:gd name="connsiteX134" fmla="*/ 880607 w 4879047"/>
                <a:gd name="connsiteY134" fmla="*/ 2581137 h 2724582"/>
                <a:gd name="connsiteX135" fmla="*/ 529993 w 4879047"/>
                <a:gd name="connsiteY135" fmla="*/ 2230524 h 2724582"/>
                <a:gd name="connsiteX136" fmla="*/ 880607 w 4879047"/>
                <a:gd name="connsiteY136" fmla="*/ 1879911 h 2724582"/>
                <a:gd name="connsiteX137" fmla="*/ 1231220 w 4879047"/>
                <a:gd name="connsiteY137" fmla="*/ 2230524 h 2724582"/>
                <a:gd name="connsiteX138" fmla="*/ 880607 w 4879047"/>
                <a:gd name="connsiteY138" fmla="*/ 2581137 h 2724582"/>
                <a:gd name="connsiteX139" fmla="*/ 4023102 w 4879047"/>
                <a:gd name="connsiteY139" fmla="*/ 2581137 h 2724582"/>
                <a:gd name="connsiteX140" fmla="*/ 3672489 w 4879047"/>
                <a:gd name="connsiteY140" fmla="*/ 2230524 h 2724582"/>
                <a:gd name="connsiteX141" fmla="*/ 4023102 w 4879047"/>
                <a:gd name="connsiteY141" fmla="*/ 1879911 h 2724582"/>
                <a:gd name="connsiteX142" fmla="*/ 4373715 w 4879047"/>
                <a:gd name="connsiteY142" fmla="*/ 2230524 h 2724582"/>
                <a:gd name="connsiteX143" fmla="*/ 4023102 w 4879047"/>
                <a:gd name="connsiteY143" fmla="*/ 2581137 h 2724582"/>
                <a:gd name="connsiteX144" fmla="*/ 4724003 w 4879047"/>
                <a:gd name="connsiteY144" fmla="*/ 2266239 h 2724582"/>
                <a:gd name="connsiteX145" fmla="*/ 4515707 w 4879047"/>
                <a:gd name="connsiteY145" fmla="*/ 2266239 h 2724582"/>
                <a:gd name="connsiteX146" fmla="*/ 4517141 w 4879047"/>
                <a:gd name="connsiteY146" fmla="*/ 2230534 h 2724582"/>
                <a:gd name="connsiteX147" fmla="*/ 4504882 w 4879047"/>
                <a:gd name="connsiteY147" fmla="*/ 2121561 h 2724582"/>
                <a:gd name="connsiteX148" fmla="*/ 4735603 w 4879047"/>
                <a:gd name="connsiteY148" fmla="*/ 2121561 h 2724582"/>
                <a:gd name="connsiteX149" fmla="*/ 4735603 w 4879047"/>
                <a:gd name="connsiteY149" fmla="*/ 2254640 h 2724582"/>
                <a:gd name="connsiteX150" fmla="*/ 4724003 w 4879047"/>
                <a:gd name="connsiteY150" fmla="*/ 2266239 h 27245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</a:cxnLst>
              <a:rect l="l" t="t" r="r" b="b"/>
              <a:pathLst>
                <a:path w="4879047" h="2724582">
                  <a:moveTo>
                    <a:pt x="4695488" y="1619442"/>
                  </a:moveTo>
                  <a:lnTo>
                    <a:pt x="4695488" y="1618954"/>
                  </a:lnTo>
                  <a:lnTo>
                    <a:pt x="4695488" y="969403"/>
                  </a:lnTo>
                  <a:cubicBezTo>
                    <a:pt x="4695488" y="888017"/>
                    <a:pt x="4673715" y="807904"/>
                    <a:pt x="4632530" y="737716"/>
                  </a:cubicBezTo>
                  <a:lnTo>
                    <a:pt x="4549366" y="595993"/>
                  </a:lnTo>
                  <a:cubicBezTo>
                    <a:pt x="4529314" y="561826"/>
                    <a:pt x="4485365" y="550371"/>
                    <a:pt x="4451218" y="570442"/>
                  </a:cubicBezTo>
                  <a:cubicBezTo>
                    <a:pt x="4417061" y="590485"/>
                    <a:pt x="4405615" y="634433"/>
                    <a:pt x="4425667" y="668590"/>
                  </a:cubicBezTo>
                  <a:lnTo>
                    <a:pt x="4508831" y="810314"/>
                  </a:lnTo>
                  <a:cubicBezTo>
                    <a:pt x="4537117" y="858518"/>
                    <a:pt x="4552063" y="913520"/>
                    <a:pt x="4552063" y="969412"/>
                  </a:cubicBezTo>
                  <a:lnTo>
                    <a:pt x="4552063" y="980399"/>
                  </a:lnTo>
                  <a:lnTo>
                    <a:pt x="4408054" y="980399"/>
                  </a:lnTo>
                  <a:cubicBezTo>
                    <a:pt x="4325081" y="980399"/>
                    <a:pt x="4257580" y="1047900"/>
                    <a:pt x="4257580" y="1130873"/>
                  </a:cubicBezTo>
                  <a:lnTo>
                    <a:pt x="4257580" y="1540199"/>
                  </a:lnTo>
                  <a:cubicBezTo>
                    <a:pt x="4257580" y="1623171"/>
                    <a:pt x="4325081" y="1690672"/>
                    <a:pt x="4408054" y="1690672"/>
                  </a:cubicBezTo>
                  <a:lnTo>
                    <a:pt x="4552675" y="1690672"/>
                  </a:lnTo>
                  <a:cubicBezTo>
                    <a:pt x="4557083" y="1726052"/>
                    <a:pt x="4587204" y="1753449"/>
                    <a:pt x="4623780" y="1753449"/>
                  </a:cubicBezTo>
                  <a:lnTo>
                    <a:pt x="4627127" y="1753449"/>
                  </a:lnTo>
                  <a:cubicBezTo>
                    <a:pt x="4686949" y="1753449"/>
                    <a:pt x="4735612" y="1802112"/>
                    <a:pt x="4735612" y="1861934"/>
                  </a:cubicBezTo>
                  <a:lnTo>
                    <a:pt x="4735612" y="1978135"/>
                  </a:lnTo>
                  <a:lnTo>
                    <a:pt x="4447585" y="1978135"/>
                  </a:lnTo>
                  <a:cubicBezTo>
                    <a:pt x="4361294" y="1833572"/>
                    <a:pt x="4203352" y="1736495"/>
                    <a:pt x="4023102" y="1736495"/>
                  </a:cubicBezTo>
                  <a:cubicBezTo>
                    <a:pt x="3842851" y="1736495"/>
                    <a:pt x="3684910" y="1833572"/>
                    <a:pt x="3598620" y="1978135"/>
                  </a:cubicBezTo>
                  <a:lnTo>
                    <a:pt x="2877982" y="1978135"/>
                  </a:lnTo>
                  <a:lnTo>
                    <a:pt x="2967571" y="1778320"/>
                  </a:lnTo>
                  <a:cubicBezTo>
                    <a:pt x="2977430" y="1756337"/>
                    <a:pt x="2982431" y="1732957"/>
                    <a:pt x="2982431" y="1708850"/>
                  </a:cubicBezTo>
                  <a:lnTo>
                    <a:pt x="2982431" y="1123835"/>
                  </a:lnTo>
                  <a:lnTo>
                    <a:pt x="3461782" y="1123835"/>
                  </a:lnTo>
                  <a:cubicBezTo>
                    <a:pt x="3501390" y="1123835"/>
                    <a:pt x="3533500" y="1091724"/>
                    <a:pt x="3533500" y="1052117"/>
                  </a:cubicBezTo>
                  <a:cubicBezTo>
                    <a:pt x="3533500" y="1012510"/>
                    <a:pt x="3501390" y="980399"/>
                    <a:pt x="3461782" y="980399"/>
                  </a:cubicBezTo>
                  <a:lnTo>
                    <a:pt x="3125905" y="980399"/>
                  </a:lnTo>
                  <a:lnTo>
                    <a:pt x="3125905" y="430325"/>
                  </a:lnTo>
                  <a:lnTo>
                    <a:pt x="3912762" y="430325"/>
                  </a:lnTo>
                  <a:lnTo>
                    <a:pt x="3912179" y="980399"/>
                  </a:lnTo>
                  <a:lnTo>
                    <a:pt x="3767414" y="980399"/>
                  </a:lnTo>
                  <a:cubicBezTo>
                    <a:pt x="3727807" y="980399"/>
                    <a:pt x="3695697" y="1012510"/>
                    <a:pt x="3695697" y="1052117"/>
                  </a:cubicBezTo>
                  <a:cubicBezTo>
                    <a:pt x="3695697" y="1091724"/>
                    <a:pt x="3727807" y="1123835"/>
                    <a:pt x="3767414" y="1123835"/>
                  </a:cubicBezTo>
                  <a:lnTo>
                    <a:pt x="3912179" y="1123835"/>
                  </a:lnTo>
                  <a:cubicBezTo>
                    <a:pt x="3991603" y="1123835"/>
                    <a:pt x="4056226" y="1059212"/>
                    <a:pt x="4056226" y="979787"/>
                  </a:cubicBezTo>
                  <a:lnTo>
                    <a:pt x="4056226" y="405243"/>
                  </a:lnTo>
                  <a:cubicBezTo>
                    <a:pt x="4056226" y="340133"/>
                    <a:pt x="4003260" y="287043"/>
                    <a:pt x="3937481" y="286890"/>
                  </a:cubicBezTo>
                  <a:lnTo>
                    <a:pt x="2268621" y="286890"/>
                  </a:lnTo>
                  <a:cubicBezTo>
                    <a:pt x="2239656" y="286890"/>
                    <a:pt x="2211667" y="297361"/>
                    <a:pt x="2189827" y="316371"/>
                  </a:cubicBezTo>
                  <a:lnTo>
                    <a:pt x="1406374" y="998013"/>
                  </a:lnTo>
                  <a:cubicBezTo>
                    <a:pt x="1383806" y="1017654"/>
                    <a:pt x="1375793" y="1049229"/>
                    <a:pt x="1386273" y="1077247"/>
                  </a:cubicBezTo>
                  <a:cubicBezTo>
                    <a:pt x="1396754" y="1105265"/>
                    <a:pt x="1423528" y="1123835"/>
                    <a:pt x="1453439" y="1123835"/>
                  </a:cubicBezTo>
                  <a:lnTo>
                    <a:pt x="2838977" y="1123835"/>
                  </a:lnTo>
                  <a:lnTo>
                    <a:pt x="2838977" y="1708850"/>
                  </a:lnTo>
                  <a:cubicBezTo>
                    <a:pt x="2838977" y="1712598"/>
                    <a:pt x="2838202" y="1716223"/>
                    <a:pt x="2836672" y="1719636"/>
                  </a:cubicBezTo>
                  <a:lnTo>
                    <a:pt x="2720776" y="1978135"/>
                  </a:lnTo>
                  <a:lnTo>
                    <a:pt x="1903262" y="1978135"/>
                  </a:lnTo>
                  <a:cubicBezTo>
                    <a:pt x="1863655" y="1978135"/>
                    <a:pt x="1831544" y="2010246"/>
                    <a:pt x="1831544" y="2049853"/>
                  </a:cubicBezTo>
                  <a:cubicBezTo>
                    <a:pt x="1831544" y="2089460"/>
                    <a:pt x="1863655" y="2121571"/>
                    <a:pt x="1903262" y="2121571"/>
                  </a:cubicBezTo>
                  <a:lnTo>
                    <a:pt x="3541303" y="2121571"/>
                  </a:lnTo>
                  <a:cubicBezTo>
                    <a:pt x="3533366" y="2156655"/>
                    <a:pt x="3529044" y="2193087"/>
                    <a:pt x="3529044" y="2230543"/>
                  </a:cubicBezTo>
                  <a:cubicBezTo>
                    <a:pt x="3529044" y="2242563"/>
                    <a:pt x="3529627" y="2254440"/>
                    <a:pt x="3530478" y="2266249"/>
                  </a:cubicBezTo>
                  <a:lnTo>
                    <a:pt x="1373211" y="2266249"/>
                  </a:lnTo>
                  <a:cubicBezTo>
                    <a:pt x="1374062" y="2254440"/>
                    <a:pt x="1374646" y="2242563"/>
                    <a:pt x="1374646" y="2230543"/>
                  </a:cubicBezTo>
                  <a:cubicBezTo>
                    <a:pt x="1374646" y="2193097"/>
                    <a:pt x="1370314" y="2156655"/>
                    <a:pt x="1362387" y="2121571"/>
                  </a:cubicBezTo>
                  <a:lnTo>
                    <a:pt x="1597640" y="2121571"/>
                  </a:lnTo>
                  <a:cubicBezTo>
                    <a:pt x="1637247" y="2121571"/>
                    <a:pt x="1669357" y="2089460"/>
                    <a:pt x="1669357" y="2049853"/>
                  </a:cubicBezTo>
                  <a:cubicBezTo>
                    <a:pt x="1669357" y="2010246"/>
                    <a:pt x="1637247" y="1978135"/>
                    <a:pt x="1597640" y="1978135"/>
                  </a:cubicBezTo>
                  <a:lnTo>
                    <a:pt x="1305080" y="1978135"/>
                  </a:lnTo>
                  <a:cubicBezTo>
                    <a:pt x="1254198" y="1892887"/>
                    <a:pt x="1178388" y="1824239"/>
                    <a:pt x="1087775" y="1782193"/>
                  </a:cubicBezTo>
                  <a:lnTo>
                    <a:pt x="1087775" y="1085078"/>
                  </a:lnTo>
                  <a:lnTo>
                    <a:pt x="2116971" y="189621"/>
                  </a:lnTo>
                  <a:cubicBezTo>
                    <a:pt x="2151195" y="159844"/>
                    <a:pt x="2195029" y="143445"/>
                    <a:pt x="2240392" y="143445"/>
                  </a:cubicBezTo>
                  <a:lnTo>
                    <a:pt x="3937471" y="143445"/>
                  </a:lnTo>
                  <a:cubicBezTo>
                    <a:pt x="4048500" y="143445"/>
                    <a:pt x="4152385" y="202932"/>
                    <a:pt x="4208583" y="298690"/>
                  </a:cubicBezTo>
                  <a:lnTo>
                    <a:pt x="4270777" y="404679"/>
                  </a:lnTo>
                  <a:cubicBezTo>
                    <a:pt x="4290819" y="438836"/>
                    <a:pt x="4334758" y="450272"/>
                    <a:pt x="4368934" y="430239"/>
                  </a:cubicBezTo>
                  <a:cubicBezTo>
                    <a:pt x="4403091" y="410196"/>
                    <a:pt x="4414537" y="366248"/>
                    <a:pt x="4394494" y="332081"/>
                  </a:cubicBezTo>
                  <a:lnTo>
                    <a:pt x="4332301" y="226092"/>
                  </a:lnTo>
                  <a:cubicBezTo>
                    <a:pt x="4250457" y="86635"/>
                    <a:pt x="4099171" y="0"/>
                    <a:pt x="3937481" y="0"/>
                  </a:cubicBezTo>
                  <a:lnTo>
                    <a:pt x="2240402" y="0"/>
                  </a:lnTo>
                  <a:cubicBezTo>
                    <a:pt x="2160422" y="0"/>
                    <a:pt x="2083149" y="28907"/>
                    <a:pt x="2022830" y="81404"/>
                  </a:cubicBezTo>
                  <a:lnTo>
                    <a:pt x="989235" y="980686"/>
                  </a:lnTo>
                  <a:lnTo>
                    <a:pt x="503812" y="980686"/>
                  </a:lnTo>
                  <a:cubicBezTo>
                    <a:pt x="226006" y="980696"/>
                    <a:pt x="0" y="1206702"/>
                    <a:pt x="0" y="1484508"/>
                  </a:cubicBezTo>
                  <a:lnTo>
                    <a:pt x="0" y="2255109"/>
                  </a:lnTo>
                  <a:cubicBezTo>
                    <a:pt x="0" y="2340338"/>
                    <a:pt x="69337" y="2409675"/>
                    <a:pt x="154566" y="2409675"/>
                  </a:cubicBezTo>
                  <a:lnTo>
                    <a:pt x="420323" y="2409675"/>
                  </a:lnTo>
                  <a:cubicBezTo>
                    <a:pt x="492222" y="2593760"/>
                    <a:pt x="671373" y="2724582"/>
                    <a:pt x="880607" y="2724582"/>
                  </a:cubicBezTo>
                  <a:cubicBezTo>
                    <a:pt x="1089841" y="2724582"/>
                    <a:pt x="1268991" y="2593769"/>
                    <a:pt x="1340891" y="2409675"/>
                  </a:cubicBezTo>
                  <a:lnTo>
                    <a:pt x="3562818" y="2409675"/>
                  </a:lnTo>
                  <a:cubicBezTo>
                    <a:pt x="3634717" y="2593760"/>
                    <a:pt x="3813868" y="2724582"/>
                    <a:pt x="4023102" y="2724582"/>
                  </a:cubicBezTo>
                  <a:cubicBezTo>
                    <a:pt x="4232346" y="2724582"/>
                    <a:pt x="4411496" y="2593769"/>
                    <a:pt x="4483396" y="2409675"/>
                  </a:cubicBezTo>
                  <a:lnTo>
                    <a:pt x="4724013" y="2409675"/>
                  </a:lnTo>
                  <a:cubicBezTo>
                    <a:pt x="4809500" y="2409675"/>
                    <a:pt x="4879047" y="2340128"/>
                    <a:pt x="4879047" y="2254650"/>
                  </a:cubicBezTo>
                  <a:lnTo>
                    <a:pt x="4879047" y="1861934"/>
                  </a:lnTo>
                  <a:cubicBezTo>
                    <a:pt x="4879038" y="1746707"/>
                    <a:pt x="4801286" y="1649305"/>
                    <a:pt x="4695488" y="1619442"/>
                  </a:cubicBezTo>
                  <a:close/>
                  <a:moveTo>
                    <a:pt x="4408044" y="1123825"/>
                  </a:moveTo>
                  <a:lnTo>
                    <a:pt x="4552053" y="1123825"/>
                  </a:lnTo>
                  <a:lnTo>
                    <a:pt x="4552053" y="1263808"/>
                  </a:lnTo>
                  <a:lnTo>
                    <a:pt x="4401016" y="1263808"/>
                  </a:lnTo>
                  <a:lnTo>
                    <a:pt x="4401016" y="1130863"/>
                  </a:lnTo>
                  <a:cubicBezTo>
                    <a:pt x="4401016" y="1126990"/>
                    <a:pt x="4404171" y="1123825"/>
                    <a:pt x="4408044" y="1123825"/>
                  </a:cubicBezTo>
                  <a:close/>
                  <a:moveTo>
                    <a:pt x="4401016" y="1540199"/>
                  </a:moveTo>
                  <a:lnTo>
                    <a:pt x="4401016" y="1407253"/>
                  </a:lnTo>
                  <a:lnTo>
                    <a:pt x="4552053" y="1407253"/>
                  </a:lnTo>
                  <a:lnTo>
                    <a:pt x="4552053" y="1547237"/>
                  </a:lnTo>
                  <a:lnTo>
                    <a:pt x="4408044" y="1547237"/>
                  </a:lnTo>
                  <a:cubicBezTo>
                    <a:pt x="4404171" y="1547237"/>
                    <a:pt x="4401016" y="1544081"/>
                    <a:pt x="4401016" y="1540199"/>
                  </a:cubicBezTo>
                  <a:close/>
                  <a:moveTo>
                    <a:pt x="2838948" y="430316"/>
                  </a:moveTo>
                  <a:lnTo>
                    <a:pt x="2982469" y="430316"/>
                  </a:lnTo>
                  <a:lnTo>
                    <a:pt x="2982469" y="980390"/>
                  </a:lnTo>
                  <a:lnTo>
                    <a:pt x="2838948" y="980390"/>
                  </a:lnTo>
                  <a:close/>
                  <a:moveTo>
                    <a:pt x="2277380" y="430316"/>
                  </a:moveTo>
                  <a:lnTo>
                    <a:pt x="2695522" y="430316"/>
                  </a:lnTo>
                  <a:lnTo>
                    <a:pt x="2695522" y="980390"/>
                  </a:lnTo>
                  <a:lnTo>
                    <a:pt x="1645146" y="980390"/>
                  </a:lnTo>
                  <a:close/>
                  <a:moveTo>
                    <a:pt x="944340" y="1124131"/>
                  </a:moveTo>
                  <a:lnTo>
                    <a:pt x="944340" y="1740740"/>
                  </a:lnTo>
                  <a:cubicBezTo>
                    <a:pt x="923456" y="1738034"/>
                    <a:pt x="902208" y="1736495"/>
                    <a:pt x="880597" y="1736495"/>
                  </a:cubicBezTo>
                  <a:cubicBezTo>
                    <a:pt x="700203" y="1736495"/>
                    <a:pt x="542147" y="1833734"/>
                    <a:pt x="455904" y="1978499"/>
                  </a:cubicBezTo>
                  <a:cubicBezTo>
                    <a:pt x="453533" y="1978260"/>
                    <a:pt x="451133" y="1978135"/>
                    <a:pt x="448704" y="1978135"/>
                  </a:cubicBezTo>
                  <a:lnTo>
                    <a:pt x="143435" y="1978135"/>
                  </a:lnTo>
                  <a:lnTo>
                    <a:pt x="143435" y="1615550"/>
                  </a:lnTo>
                  <a:lnTo>
                    <a:pt x="338488" y="1615550"/>
                  </a:lnTo>
                  <a:cubicBezTo>
                    <a:pt x="457798" y="1615550"/>
                    <a:pt x="554856" y="1518482"/>
                    <a:pt x="554856" y="1399173"/>
                  </a:cubicBezTo>
                  <a:cubicBezTo>
                    <a:pt x="554856" y="1279864"/>
                    <a:pt x="457798" y="1182806"/>
                    <a:pt x="338488" y="1182806"/>
                  </a:cubicBezTo>
                  <a:lnTo>
                    <a:pt x="307085" y="1182806"/>
                  </a:lnTo>
                  <a:cubicBezTo>
                    <a:pt x="363695" y="1145771"/>
                    <a:pt x="431253" y="1124141"/>
                    <a:pt x="503812" y="1124141"/>
                  </a:cubicBezTo>
                  <a:lnTo>
                    <a:pt x="944340" y="1124141"/>
                  </a:lnTo>
                  <a:close/>
                  <a:moveTo>
                    <a:pt x="338488" y="1326222"/>
                  </a:moveTo>
                  <a:cubicBezTo>
                    <a:pt x="378707" y="1326222"/>
                    <a:pt x="411420" y="1358944"/>
                    <a:pt x="411420" y="1399154"/>
                  </a:cubicBezTo>
                  <a:cubicBezTo>
                    <a:pt x="411420" y="1439373"/>
                    <a:pt x="378698" y="1472096"/>
                    <a:pt x="338488" y="1472096"/>
                  </a:cubicBezTo>
                  <a:lnTo>
                    <a:pt x="143751" y="1472096"/>
                  </a:lnTo>
                  <a:cubicBezTo>
                    <a:pt x="145529" y="1419924"/>
                    <a:pt x="158391" y="1370524"/>
                    <a:pt x="180145" y="1326222"/>
                  </a:cubicBezTo>
                  <a:close/>
                  <a:moveTo>
                    <a:pt x="154566" y="2266239"/>
                  </a:moveTo>
                  <a:cubicBezTo>
                    <a:pt x="148427" y="2266239"/>
                    <a:pt x="143435" y="2261248"/>
                    <a:pt x="143435" y="2255109"/>
                  </a:cubicBezTo>
                  <a:lnTo>
                    <a:pt x="143435" y="2121561"/>
                  </a:lnTo>
                  <a:lnTo>
                    <a:pt x="398817" y="2121561"/>
                  </a:lnTo>
                  <a:cubicBezTo>
                    <a:pt x="390880" y="2156645"/>
                    <a:pt x="386558" y="2193078"/>
                    <a:pt x="386558" y="2230534"/>
                  </a:cubicBezTo>
                  <a:cubicBezTo>
                    <a:pt x="386558" y="2242554"/>
                    <a:pt x="387141" y="2254430"/>
                    <a:pt x="387992" y="2266239"/>
                  </a:cubicBezTo>
                  <a:close/>
                  <a:moveTo>
                    <a:pt x="880607" y="2581137"/>
                  </a:moveTo>
                  <a:cubicBezTo>
                    <a:pt x="687285" y="2581137"/>
                    <a:pt x="529993" y="2423856"/>
                    <a:pt x="529993" y="2230524"/>
                  </a:cubicBezTo>
                  <a:cubicBezTo>
                    <a:pt x="529993" y="2037193"/>
                    <a:pt x="687275" y="1879911"/>
                    <a:pt x="880607" y="1879911"/>
                  </a:cubicBezTo>
                  <a:cubicBezTo>
                    <a:pt x="1073938" y="1879911"/>
                    <a:pt x="1231220" y="2037193"/>
                    <a:pt x="1231220" y="2230524"/>
                  </a:cubicBezTo>
                  <a:cubicBezTo>
                    <a:pt x="1231220" y="2423856"/>
                    <a:pt x="1073929" y="2581137"/>
                    <a:pt x="880607" y="2581137"/>
                  </a:cubicBezTo>
                  <a:close/>
                  <a:moveTo>
                    <a:pt x="4023102" y="2581137"/>
                  </a:moveTo>
                  <a:cubicBezTo>
                    <a:pt x="3829780" y="2581137"/>
                    <a:pt x="3672489" y="2423856"/>
                    <a:pt x="3672489" y="2230524"/>
                  </a:cubicBezTo>
                  <a:cubicBezTo>
                    <a:pt x="3672489" y="2037193"/>
                    <a:pt x="3829770" y="1879911"/>
                    <a:pt x="4023102" y="1879911"/>
                  </a:cubicBezTo>
                  <a:cubicBezTo>
                    <a:pt x="4216434" y="1879911"/>
                    <a:pt x="4373715" y="2037193"/>
                    <a:pt x="4373715" y="2230524"/>
                  </a:cubicBezTo>
                  <a:cubicBezTo>
                    <a:pt x="4373715" y="2423856"/>
                    <a:pt x="4216424" y="2581137"/>
                    <a:pt x="4023102" y="2581137"/>
                  </a:cubicBezTo>
                  <a:close/>
                  <a:moveTo>
                    <a:pt x="4724003" y="2266239"/>
                  </a:moveTo>
                  <a:lnTo>
                    <a:pt x="4515707" y="2266239"/>
                  </a:lnTo>
                  <a:cubicBezTo>
                    <a:pt x="4516558" y="2254430"/>
                    <a:pt x="4517141" y="2242554"/>
                    <a:pt x="4517141" y="2230534"/>
                  </a:cubicBezTo>
                  <a:cubicBezTo>
                    <a:pt x="4517141" y="2193087"/>
                    <a:pt x="4512809" y="2156645"/>
                    <a:pt x="4504882" y="2121561"/>
                  </a:cubicBezTo>
                  <a:lnTo>
                    <a:pt x="4735603" y="2121561"/>
                  </a:lnTo>
                  <a:lnTo>
                    <a:pt x="4735603" y="2254640"/>
                  </a:lnTo>
                  <a:cubicBezTo>
                    <a:pt x="4735603" y="2261038"/>
                    <a:pt x="4730401" y="2266239"/>
                    <a:pt x="4724003" y="2266239"/>
                  </a:cubicBezTo>
                  <a:close/>
                </a:path>
              </a:pathLst>
            </a:custGeom>
            <a:solidFill>
              <a:srgbClr val="00338D"/>
            </a:solidFill>
            <a:ln w="956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342905"/>
              <a:endParaRPr lang="ru-RU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B8FE44E7-BF49-41EB-9A77-E8C26E48AD56}"/>
                </a:ext>
              </a:extLst>
            </p:cNvPr>
            <p:cNvSpPr/>
            <p:nvPr/>
          </p:nvSpPr>
          <p:spPr>
            <a:xfrm>
              <a:off x="6725978" y="3654723"/>
              <a:ext cx="281257" cy="143435"/>
            </a:xfrm>
            <a:custGeom>
              <a:avLst/>
              <a:gdLst>
                <a:gd name="connsiteX0" fmla="*/ 209540 w 281257"/>
                <a:gd name="connsiteY0" fmla="*/ 143435 h 143435"/>
                <a:gd name="connsiteX1" fmla="*/ 281257 w 281257"/>
                <a:gd name="connsiteY1" fmla="*/ 71718 h 143435"/>
                <a:gd name="connsiteX2" fmla="*/ 209540 w 281257"/>
                <a:gd name="connsiteY2" fmla="*/ 0 h 143435"/>
                <a:gd name="connsiteX3" fmla="*/ 71718 w 281257"/>
                <a:gd name="connsiteY3" fmla="*/ 0 h 143435"/>
                <a:gd name="connsiteX4" fmla="*/ 0 w 281257"/>
                <a:gd name="connsiteY4" fmla="*/ 71718 h 143435"/>
                <a:gd name="connsiteX5" fmla="*/ 71718 w 281257"/>
                <a:gd name="connsiteY5" fmla="*/ 143435 h 1434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81257" h="143435">
                  <a:moveTo>
                    <a:pt x="209540" y="143435"/>
                  </a:moveTo>
                  <a:cubicBezTo>
                    <a:pt x="249147" y="143435"/>
                    <a:pt x="281257" y="111325"/>
                    <a:pt x="281257" y="71718"/>
                  </a:cubicBezTo>
                  <a:cubicBezTo>
                    <a:pt x="281257" y="32110"/>
                    <a:pt x="249147" y="0"/>
                    <a:pt x="209540" y="0"/>
                  </a:cubicBezTo>
                  <a:lnTo>
                    <a:pt x="71718" y="0"/>
                  </a:lnTo>
                  <a:cubicBezTo>
                    <a:pt x="32110" y="0"/>
                    <a:pt x="0" y="32110"/>
                    <a:pt x="0" y="71718"/>
                  </a:cubicBezTo>
                  <a:cubicBezTo>
                    <a:pt x="0" y="111325"/>
                    <a:pt x="32110" y="143435"/>
                    <a:pt x="71718" y="143435"/>
                  </a:cubicBezTo>
                  <a:close/>
                </a:path>
              </a:pathLst>
            </a:custGeom>
            <a:solidFill>
              <a:srgbClr val="00338D"/>
            </a:solidFill>
            <a:ln w="956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342905"/>
              <a:endParaRPr lang="ru-RU">
                <a:solidFill>
                  <a:prstClr val="black"/>
                </a:solidFill>
                <a:latin typeface="Calibri" panose="020F0502020204030204"/>
              </a:endParaRPr>
            </a:p>
          </p:txBody>
        </p:sp>
      </p:grpSp>
      <p:grpSp>
        <p:nvGrpSpPr>
          <p:cNvPr id="96" name="Group 95">
            <a:extLst>
              <a:ext uri="{FF2B5EF4-FFF2-40B4-BE49-F238E27FC236}">
                <a16:creationId xmlns:a16="http://schemas.microsoft.com/office/drawing/2014/main" id="{12D0A1F6-5DD5-4A58-B72B-A2F4A1CD4AAA}"/>
              </a:ext>
            </a:extLst>
          </p:cNvPr>
          <p:cNvGrpSpPr/>
          <p:nvPr/>
        </p:nvGrpSpPr>
        <p:grpSpPr>
          <a:xfrm>
            <a:off x="1197356" y="2784236"/>
            <a:ext cx="312286" cy="116942"/>
            <a:chOff x="3476625" y="542921"/>
            <a:chExt cx="6486524" cy="2429025"/>
          </a:xfrm>
          <a:solidFill>
            <a:srgbClr val="1FB965"/>
          </a:solidFill>
        </p:grpSpPr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468A454A-E795-4923-BA4C-FE5FF2317393}"/>
                </a:ext>
              </a:extLst>
            </p:cNvPr>
            <p:cNvSpPr/>
            <p:nvPr/>
          </p:nvSpPr>
          <p:spPr>
            <a:xfrm>
              <a:off x="3476625" y="542921"/>
              <a:ext cx="6486524" cy="2429025"/>
            </a:xfrm>
            <a:custGeom>
              <a:avLst/>
              <a:gdLst>
                <a:gd name="connsiteX0" fmla="*/ 6316038 w 6486524"/>
                <a:gd name="connsiteY0" fmla="*/ 1021404 h 2429025"/>
                <a:gd name="connsiteX1" fmla="*/ 5071260 w 6486524"/>
                <a:gd name="connsiteY1" fmla="*/ 712290 h 2429025"/>
                <a:gd name="connsiteX2" fmla="*/ 4990792 w 6486524"/>
                <a:gd name="connsiteY2" fmla="*/ 712290 h 2429025"/>
                <a:gd name="connsiteX3" fmla="*/ 3711125 w 6486524"/>
                <a:gd name="connsiteY3" fmla="*/ 113947 h 2429025"/>
                <a:gd name="connsiteX4" fmla="*/ 3198575 w 6486524"/>
                <a:gd name="connsiteY4" fmla="*/ 0 h 2429025"/>
                <a:gd name="connsiteX5" fmla="*/ 2068956 w 6486524"/>
                <a:gd name="connsiteY5" fmla="*/ 0 h 2429025"/>
                <a:gd name="connsiteX6" fmla="*/ 1751489 w 6486524"/>
                <a:gd name="connsiteY6" fmla="*/ 65254 h 2429025"/>
                <a:gd name="connsiteX7" fmla="*/ 578765 w 6486524"/>
                <a:gd name="connsiteY7" fmla="*/ 568840 h 2429025"/>
                <a:gd name="connsiteX8" fmla="*/ 376160 w 6486524"/>
                <a:gd name="connsiteY8" fmla="*/ 610541 h 2429025"/>
                <a:gd name="connsiteX9" fmla="*/ 298117 w 6486524"/>
                <a:gd name="connsiteY9" fmla="*/ 610541 h 2429025"/>
                <a:gd name="connsiteX10" fmla="*/ 0 w 6486524"/>
                <a:gd name="connsiteY10" fmla="*/ 909242 h 2429025"/>
                <a:gd name="connsiteX11" fmla="*/ 0 w 6486524"/>
                <a:gd name="connsiteY11" fmla="*/ 1555534 h 2429025"/>
                <a:gd name="connsiteX12" fmla="*/ 241206 w 6486524"/>
                <a:gd name="connsiteY12" fmla="*/ 1848731 h 2429025"/>
                <a:gd name="connsiteX13" fmla="*/ 617218 w 6486524"/>
                <a:gd name="connsiteY13" fmla="*/ 1922018 h 2429025"/>
                <a:gd name="connsiteX14" fmla="*/ 1212116 w 6486524"/>
                <a:gd name="connsiteY14" fmla="*/ 2429026 h 2429025"/>
                <a:gd name="connsiteX15" fmla="*/ 1735702 w 6486524"/>
                <a:gd name="connsiteY15" fmla="*/ 2123730 h 2429025"/>
                <a:gd name="connsiteX16" fmla="*/ 4953923 w 6486524"/>
                <a:gd name="connsiteY16" fmla="*/ 2123730 h 2429025"/>
                <a:gd name="connsiteX17" fmla="*/ 5477509 w 6486524"/>
                <a:gd name="connsiteY17" fmla="*/ 2429026 h 2429025"/>
                <a:gd name="connsiteX18" fmla="*/ 6001095 w 6486524"/>
                <a:gd name="connsiteY18" fmla="*/ 2123730 h 2429025"/>
                <a:gd name="connsiteX19" fmla="*/ 6188408 w 6486524"/>
                <a:gd name="connsiteY19" fmla="*/ 2123730 h 2429025"/>
                <a:gd name="connsiteX20" fmla="*/ 6486525 w 6486524"/>
                <a:gd name="connsiteY20" fmla="*/ 1825029 h 2429025"/>
                <a:gd name="connsiteX21" fmla="*/ 6486525 w 6486524"/>
                <a:gd name="connsiteY21" fmla="*/ 1349756 h 2429025"/>
                <a:gd name="connsiteX22" fmla="*/ 6316038 w 6486524"/>
                <a:gd name="connsiteY22" fmla="*/ 1021404 h 2429025"/>
                <a:gd name="connsiteX23" fmla="*/ 3630756 w 6486524"/>
                <a:gd name="connsiteY23" fmla="*/ 286503 h 2429025"/>
                <a:gd name="connsiteX24" fmla="*/ 4541439 w 6486524"/>
                <a:gd name="connsiteY24" fmla="*/ 712290 h 2429025"/>
                <a:gd name="connsiteX25" fmla="*/ 3185411 w 6486524"/>
                <a:gd name="connsiteY25" fmla="*/ 712290 h 2429025"/>
                <a:gd name="connsiteX26" fmla="*/ 2738928 w 6486524"/>
                <a:gd name="connsiteY26" fmla="*/ 190407 h 2429025"/>
                <a:gd name="connsiteX27" fmla="*/ 3198525 w 6486524"/>
                <a:gd name="connsiteY27" fmla="*/ 190407 h 2429025"/>
                <a:gd name="connsiteX28" fmla="*/ 3630756 w 6486524"/>
                <a:gd name="connsiteY28" fmla="*/ 286503 h 2429025"/>
                <a:gd name="connsiteX29" fmla="*/ 2488666 w 6486524"/>
                <a:gd name="connsiteY29" fmla="*/ 190407 h 2429025"/>
                <a:gd name="connsiteX30" fmla="*/ 2935149 w 6486524"/>
                <a:gd name="connsiteY30" fmla="*/ 712290 h 2429025"/>
                <a:gd name="connsiteX31" fmla="*/ 2774064 w 6486524"/>
                <a:gd name="connsiteY31" fmla="*/ 712290 h 2429025"/>
                <a:gd name="connsiteX32" fmla="*/ 2614861 w 6486524"/>
                <a:gd name="connsiteY32" fmla="*/ 638904 h 2429025"/>
                <a:gd name="connsiteX33" fmla="*/ 2231178 w 6486524"/>
                <a:gd name="connsiteY33" fmla="*/ 190407 h 2429025"/>
                <a:gd name="connsiteX34" fmla="*/ 1805035 w 6486524"/>
                <a:gd name="connsiteY34" fmla="*/ 1933323 h 2429025"/>
                <a:gd name="connsiteX35" fmla="*/ 1814932 w 6486524"/>
                <a:gd name="connsiteY35" fmla="*/ 1825029 h 2429025"/>
                <a:gd name="connsiteX36" fmla="*/ 1802857 w 6486524"/>
                <a:gd name="connsiteY36" fmla="*/ 1704339 h 2429025"/>
                <a:gd name="connsiteX37" fmla="*/ 1690865 w 6486524"/>
                <a:gd name="connsiteY37" fmla="*/ 1629962 h 2429025"/>
                <a:gd name="connsiteX38" fmla="*/ 1616633 w 6486524"/>
                <a:gd name="connsiteY38" fmla="*/ 1742222 h 2429025"/>
                <a:gd name="connsiteX39" fmla="*/ 1624898 w 6486524"/>
                <a:gd name="connsiteY39" fmla="*/ 1825029 h 2429025"/>
                <a:gd name="connsiteX40" fmla="*/ 1212116 w 6486524"/>
                <a:gd name="connsiteY40" fmla="*/ 2238569 h 2429025"/>
                <a:gd name="connsiteX41" fmla="*/ 799384 w 6486524"/>
                <a:gd name="connsiteY41" fmla="*/ 1825029 h 2429025"/>
                <a:gd name="connsiteX42" fmla="*/ 1212116 w 6486524"/>
                <a:gd name="connsiteY42" fmla="*/ 1411440 h 2429025"/>
                <a:gd name="connsiteX43" fmla="*/ 1377704 w 6486524"/>
                <a:gd name="connsiteY43" fmla="*/ 1446050 h 2429025"/>
                <a:gd name="connsiteX44" fmla="*/ 1502859 w 6486524"/>
                <a:gd name="connsiteY44" fmla="*/ 1397060 h 2429025"/>
                <a:gd name="connsiteX45" fmla="*/ 1454015 w 6486524"/>
                <a:gd name="connsiteY45" fmla="*/ 1271660 h 2429025"/>
                <a:gd name="connsiteX46" fmla="*/ 1212116 w 6486524"/>
                <a:gd name="connsiteY46" fmla="*/ 1221033 h 2429025"/>
                <a:gd name="connsiteX47" fmla="*/ 617218 w 6486524"/>
                <a:gd name="connsiteY47" fmla="*/ 1728041 h 2429025"/>
                <a:gd name="connsiteX48" fmla="*/ 277481 w 6486524"/>
                <a:gd name="connsiteY48" fmla="*/ 1661845 h 2429025"/>
                <a:gd name="connsiteX49" fmla="*/ 189985 w 6486524"/>
                <a:gd name="connsiteY49" fmla="*/ 1555534 h 2429025"/>
                <a:gd name="connsiteX50" fmla="*/ 189985 w 6486524"/>
                <a:gd name="connsiteY50" fmla="*/ 1207943 h 2429025"/>
                <a:gd name="connsiteX51" fmla="*/ 298117 w 6486524"/>
                <a:gd name="connsiteY51" fmla="*/ 1207943 h 2429025"/>
                <a:gd name="connsiteX52" fmla="*/ 393135 w 6486524"/>
                <a:gd name="connsiteY52" fmla="*/ 1112739 h 2429025"/>
                <a:gd name="connsiteX53" fmla="*/ 298117 w 6486524"/>
                <a:gd name="connsiteY53" fmla="*/ 1017536 h 2429025"/>
                <a:gd name="connsiteX54" fmla="*/ 190035 w 6486524"/>
                <a:gd name="connsiteY54" fmla="*/ 1017536 h 2429025"/>
                <a:gd name="connsiteX55" fmla="*/ 190035 w 6486524"/>
                <a:gd name="connsiteY55" fmla="*/ 909242 h 2429025"/>
                <a:gd name="connsiteX56" fmla="*/ 298117 w 6486524"/>
                <a:gd name="connsiteY56" fmla="*/ 800948 h 2429025"/>
                <a:gd name="connsiteX57" fmla="*/ 376160 w 6486524"/>
                <a:gd name="connsiteY57" fmla="*/ 800948 h 2429025"/>
                <a:gd name="connsiteX58" fmla="*/ 653641 w 6486524"/>
                <a:gd name="connsiteY58" fmla="*/ 743876 h 2429025"/>
                <a:gd name="connsiteX59" fmla="*/ 1826315 w 6486524"/>
                <a:gd name="connsiteY59" fmla="*/ 240289 h 2429025"/>
                <a:gd name="connsiteX60" fmla="*/ 1985815 w 6486524"/>
                <a:gd name="connsiteY60" fmla="*/ 196159 h 2429025"/>
                <a:gd name="connsiteX61" fmla="*/ 2470602 w 6486524"/>
                <a:gd name="connsiteY61" fmla="*/ 762817 h 2429025"/>
                <a:gd name="connsiteX62" fmla="*/ 2774064 w 6486524"/>
                <a:gd name="connsiteY62" fmla="*/ 902697 h 2429025"/>
                <a:gd name="connsiteX63" fmla="*/ 5071260 w 6486524"/>
                <a:gd name="connsiteY63" fmla="*/ 902697 h 2429025"/>
                <a:gd name="connsiteX64" fmla="*/ 6113928 w 6486524"/>
                <a:gd name="connsiteY64" fmla="*/ 1119285 h 2429025"/>
                <a:gd name="connsiteX65" fmla="*/ 6086858 w 6486524"/>
                <a:gd name="connsiteY65" fmla="*/ 1119285 h 2429025"/>
                <a:gd name="connsiteX66" fmla="*/ 5991841 w 6486524"/>
                <a:gd name="connsiteY66" fmla="*/ 1214488 h 2429025"/>
                <a:gd name="connsiteX67" fmla="*/ 6086858 w 6486524"/>
                <a:gd name="connsiteY67" fmla="*/ 1309691 h 2429025"/>
                <a:gd name="connsiteX68" fmla="*/ 6292581 w 6486524"/>
                <a:gd name="connsiteY68" fmla="*/ 1309691 h 2429025"/>
                <a:gd name="connsiteX69" fmla="*/ 6296490 w 6486524"/>
                <a:gd name="connsiteY69" fmla="*/ 1349756 h 2429025"/>
                <a:gd name="connsiteX70" fmla="*/ 6296490 w 6486524"/>
                <a:gd name="connsiteY70" fmla="*/ 1526329 h 2429025"/>
                <a:gd name="connsiteX71" fmla="*/ 6001095 w 6486524"/>
                <a:gd name="connsiteY71" fmla="*/ 1526329 h 2429025"/>
                <a:gd name="connsiteX72" fmla="*/ 5477509 w 6486524"/>
                <a:gd name="connsiteY72" fmla="*/ 1221083 h 2429025"/>
                <a:gd name="connsiteX73" fmla="*/ 4953923 w 6486524"/>
                <a:gd name="connsiteY73" fmla="*/ 1526329 h 2429025"/>
                <a:gd name="connsiteX74" fmla="*/ 4766660 w 6486524"/>
                <a:gd name="connsiteY74" fmla="*/ 1526329 h 2429025"/>
                <a:gd name="connsiteX75" fmla="*/ 4671642 w 6486524"/>
                <a:gd name="connsiteY75" fmla="*/ 1621532 h 2429025"/>
                <a:gd name="connsiteX76" fmla="*/ 4766660 w 6486524"/>
                <a:gd name="connsiteY76" fmla="*/ 1716736 h 2429025"/>
                <a:gd name="connsiteX77" fmla="*/ 4884590 w 6486524"/>
                <a:gd name="connsiteY77" fmla="*/ 1716736 h 2429025"/>
                <a:gd name="connsiteX78" fmla="*/ 4874693 w 6486524"/>
                <a:gd name="connsiteY78" fmla="*/ 1825029 h 2429025"/>
                <a:gd name="connsiteX79" fmla="*/ 4884590 w 6486524"/>
                <a:gd name="connsiteY79" fmla="*/ 1933323 h 2429025"/>
                <a:gd name="connsiteX80" fmla="*/ 5477509 w 6486524"/>
                <a:gd name="connsiteY80" fmla="*/ 2238569 h 2429025"/>
                <a:gd name="connsiteX81" fmla="*/ 5064728 w 6486524"/>
                <a:gd name="connsiteY81" fmla="*/ 1825029 h 2429025"/>
                <a:gd name="connsiteX82" fmla="*/ 5477509 w 6486524"/>
                <a:gd name="connsiteY82" fmla="*/ 1411440 h 2429025"/>
                <a:gd name="connsiteX83" fmla="*/ 5890291 w 6486524"/>
                <a:gd name="connsiteY83" fmla="*/ 1825029 h 2429025"/>
                <a:gd name="connsiteX84" fmla="*/ 5477509 w 6486524"/>
                <a:gd name="connsiteY84" fmla="*/ 2238569 h 2429025"/>
                <a:gd name="connsiteX85" fmla="*/ 6188408 w 6486524"/>
                <a:gd name="connsiteY85" fmla="*/ 1933323 h 2429025"/>
                <a:gd name="connsiteX86" fmla="*/ 6070428 w 6486524"/>
                <a:gd name="connsiteY86" fmla="*/ 1933323 h 2429025"/>
                <a:gd name="connsiteX87" fmla="*/ 6080326 w 6486524"/>
                <a:gd name="connsiteY87" fmla="*/ 1825029 h 2429025"/>
                <a:gd name="connsiteX88" fmla="*/ 6070428 w 6486524"/>
                <a:gd name="connsiteY88" fmla="*/ 1716736 h 2429025"/>
                <a:gd name="connsiteX89" fmla="*/ 6296490 w 6486524"/>
                <a:gd name="connsiteY89" fmla="*/ 1716736 h 2429025"/>
                <a:gd name="connsiteX90" fmla="*/ 6296490 w 6486524"/>
                <a:gd name="connsiteY90" fmla="*/ 1825029 h 2429025"/>
                <a:gd name="connsiteX91" fmla="*/ 6188408 w 6486524"/>
                <a:gd name="connsiteY91" fmla="*/ 1933323 h 2429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</a:cxnLst>
              <a:rect l="l" t="t" r="r" b="b"/>
              <a:pathLst>
                <a:path w="6486524" h="2429025">
                  <a:moveTo>
                    <a:pt x="6316038" y="1021404"/>
                  </a:moveTo>
                  <a:cubicBezTo>
                    <a:pt x="5952497" y="765892"/>
                    <a:pt x="5438463" y="712290"/>
                    <a:pt x="5071260" y="712290"/>
                  </a:cubicBezTo>
                  <a:lnTo>
                    <a:pt x="4990792" y="712290"/>
                  </a:lnTo>
                  <a:lnTo>
                    <a:pt x="3711125" y="113947"/>
                  </a:lnTo>
                  <a:cubicBezTo>
                    <a:pt x="3551723" y="39371"/>
                    <a:pt x="3374456" y="0"/>
                    <a:pt x="3198575" y="0"/>
                  </a:cubicBezTo>
                  <a:lnTo>
                    <a:pt x="2068956" y="0"/>
                  </a:lnTo>
                  <a:cubicBezTo>
                    <a:pt x="1959191" y="0"/>
                    <a:pt x="1852395" y="21966"/>
                    <a:pt x="1751489" y="65254"/>
                  </a:cubicBezTo>
                  <a:lnTo>
                    <a:pt x="578765" y="568840"/>
                  </a:lnTo>
                  <a:cubicBezTo>
                    <a:pt x="514381" y="596509"/>
                    <a:pt x="446236" y="610541"/>
                    <a:pt x="376160" y="610541"/>
                  </a:cubicBezTo>
                  <a:lnTo>
                    <a:pt x="298117" y="610541"/>
                  </a:lnTo>
                  <a:cubicBezTo>
                    <a:pt x="133767" y="610492"/>
                    <a:pt x="0" y="744520"/>
                    <a:pt x="0" y="909242"/>
                  </a:cubicBezTo>
                  <a:lnTo>
                    <a:pt x="0" y="1555534"/>
                  </a:lnTo>
                  <a:cubicBezTo>
                    <a:pt x="0" y="1698191"/>
                    <a:pt x="101451" y="1821509"/>
                    <a:pt x="241206" y="1848731"/>
                  </a:cubicBezTo>
                  <a:lnTo>
                    <a:pt x="617218" y="1922018"/>
                  </a:lnTo>
                  <a:cubicBezTo>
                    <a:pt x="663687" y="2209116"/>
                    <a:pt x="912712" y="2429026"/>
                    <a:pt x="1212116" y="2429026"/>
                  </a:cubicBezTo>
                  <a:cubicBezTo>
                    <a:pt x="1436100" y="2429026"/>
                    <a:pt x="1631776" y="2305906"/>
                    <a:pt x="1735702" y="2123730"/>
                  </a:cubicBezTo>
                  <a:lnTo>
                    <a:pt x="4953923" y="2123730"/>
                  </a:lnTo>
                  <a:cubicBezTo>
                    <a:pt x="5057849" y="2305906"/>
                    <a:pt x="5253525" y="2429026"/>
                    <a:pt x="5477509" y="2429026"/>
                  </a:cubicBezTo>
                  <a:cubicBezTo>
                    <a:pt x="5701444" y="2429026"/>
                    <a:pt x="5897170" y="2305906"/>
                    <a:pt x="6001095" y="2123730"/>
                  </a:cubicBezTo>
                  <a:lnTo>
                    <a:pt x="6188408" y="2123730"/>
                  </a:lnTo>
                  <a:cubicBezTo>
                    <a:pt x="6352758" y="2123730"/>
                    <a:pt x="6486525" y="1989751"/>
                    <a:pt x="6486525" y="1825029"/>
                  </a:cubicBezTo>
                  <a:lnTo>
                    <a:pt x="6486525" y="1349756"/>
                  </a:lnTo>
                  <a:cubicBezTo>
                    <a:pt x="6486525" y="1219199"/>
                    <a:pt x="6422784" y="1096426"/>
                    <a:pt x="6316038" y="1021404"/>
                  </a:cubicBezTo>
                  <a:close/>
                  <a:moveTo>
                    <a:pt x="3630756" y="286503"/>
                  </a:moveTo>
                  <a:lnTo>
                    <a:pt x="4541439" y="712290"/>
                  </a:lnTo>
                  <a:lnTo>
                    <a:pt x="3185411" y="712290"/>
                  </a:lnTo>
                  <a:lnTo>
                    <a:pt x="2738928" y="190407"/>
                  </a:lnTo>
                  <a:lnTo>
                    <a:pt x="3198525" y="190407"/>
                  </a:lnTo>
                  <a:cubicBezTo>
                    <a:pt x="3346891" y="190407"/>
                    <a:pt x="3496346" y="223629"/>
                    <a:pt x="3630756" y="286503"/>
                  </a:cubicBezTo>
                  <a:close/>
                  <a:moveTo>
                    <a:pt x="2488666" y="190407"/>
                  </a:moveTo>
                  <a:lnTo>
                    <a:pt x="2935149" y="712290"/>
                  </a:lnTo>
                  <a:lnTo>
                    <a:pt x="2774064" y="712290"/>
                  </a:lnTo>
                  <a:cubicBezTo>
                    <a:pt x="2712798" y="712290"/>
                    <a:pt x="2654748" y="685564"/>
                    <a:pt x="2614861" y="638904"/>
                  </a:cubicBezTo>
                  <a:lnTo>
                    <a:pt x="2231178" y="190407"/>
                  </a:lnTo>
                  <a:close/>
                  <a:moveTo>
                    <a:pt x="1805035" y="1933323"/>
                  </a:moveTo>
                  <a:cubicBezTo>
                    <a:pt x="1811419" y="1898167"/>
                    <a:pt x="1814932" y="1862020"/>
                    <a:pt x="1814932" y="1825029"/>
                  </a:cubicBezTo>
                  <a:cubicBezTo>
                    <a:pt x="1814932" y="1784469"/>
                    <a:pt x="1810874" y="1743859"/>
                    <a:pt x="1802857" y="1704339"/>
                  </a:cubicBezTo>
                  <a:cubicBezTo>
                    <a:pt x="1792415" y="1652820"/>
                    <a:pt x="1742284" y="1619549"/>
                    <a:pt x="1690865" y="1629962"/>
                  </a:cubicBezTo>
                  <a:cubicBezTo>
                    <a:pt x="1639398" y="1640424"/>
                    <a:pt x="1606191" y="1690703"/>
                    <a:pt x="1616633" y="1742222"/>
                  </a:cubicBezTo>
                  <a:cubicBezTo>
                    <a:pt x="1622126" y="1769246"/>
                    <a:pt x="1624898" y="1797113"/>
                    <a:pt x="1624898" y="1825029"/>
                  </a:cubicBezTo>
                  <a:cubicBezTo>
                    <a:pt x="1624898" y="2053071"/>
                    <a:pt x="1439712" y="2238569"/>
                    <a:pt x="1212116" y="2238569"/>
                  </a:cubicBezTo>
                  <a:cubicBezTo>
                    <a:pt x="984519" y="2238569"/>
                    <a:pt x="799384" y="2053071"/>
                    <a:pt x="799384" y="1825029"/>
                  </a:cubicBezTo>
                  <a:cubicBezTo>
                    <a:pt x="799384" y="1596988"/>
                    <a:pt x="984519" y="1411440"/>
                    <a:pt x="1212116" y="1411440"/>
                  </a:cubicBezTo>
                  <a:cubicBezTo>
                    <a:pt x="1269770" y="1411440"/>
                    <a:pt x="1325444" y="1423093"/>
                    <a:pt x="1377704" y="1446050"/>
                  </a:cubicBezTo>
                  <a:cubicBezTo>
                    <a:pt x="1425707" y="1467124"/>
                    <a:pt x="1481777" y="1445208"/>
                    <a:pt x="1502859" y="1397060"/>
                  </a:cubicBezTo>
                  <a:cubicBezTo>
                    <a:pt x="1523941" y="1348913"/>
                    <a:pt x="1502068" y="1292783"/>
                    <a:pt x="1454015" y="1271660"/>
                  </a:cubicBezTo>
                  <a:cubicBezTo>
                    <a:pt x="1377555" y="1238091"/>
                    <a:pt x="1296147" y="1221033"/>
                    <a:pt x="1212116" y="1221033"/>
                  </a:cubicBezTo>
                  <a:cubicBezTo>
                    <a:pt x="912712" y="1221033"/>
                    <a:pt x="663687" y="1440943"/>
                    <a:pt x="617218" y="1728041"/>
                  </a:cubicBezTo>
                  <a:lnTo>
                    <a:pt x="277481" y="1661845"/>
                  </a:lnTo>
                  <a:cubicBezTo>
                    <a:pt x="226805" y="1651977"/>
                    <a:pt x="189985" y="1607252"/>
                    <a:pt x="189985" y="1555534"/>
                  </a:cubicBezTo>
                  <a:lnTo>
                    <a:pt x="189985" y="1207943"/>
                  </a:lnTo>
                  <a:lnTo>
                    <a:pt x="298117" y="1207943"/>
                  </a:lnTo>
                  <a:cubicBezTo>
                    <a:pt x="350575" y="1207943"/>
                    <a:pt x="393135" y="1165300"/>
                    <a:pt x="393135" y="1112739"/>
                  </a:cubicBezTo>
                  <a:cubicBezTo>
                    <a:pt x="393135" y="1060179"/>
                    <a:pt x="350575" y="1017536"/>
                    <a:pt x="298117" y="1017536"/>
                  </a:cubicBezTo>
                  <a:lnTo>
                    <a:pt x="190035" y="1017536"/>
                  </a:lnTo>
                  <a:lnTo>
                    <a:pt x="190035" y="909242"/>
                  </a:lnTo>
                  <a:cubicBezTo>
                    <a:pt x="190035" y="849492"/>
                    <a:pt x="238533" y="800948"/>
                    <a:pt x="298117" y="800948"/>
                  </a:cubicBezTo>
                  <a:lnTo>
                    <a:pt x="376160" y="800948"/>
                  </a:lnTo>
                  <a:cubicBezTo>
                    <a:pt x="472118" y="800948"/>
                    <a:pt x="565453" y="781709"/>
                    <a:pt x="653641" y="743876"/>
                  </a:cubicBezTo>
                  <a:lnTo>
                    <a:pt x="1826315" y="240289"/>
                  </a:lnTo>
                  <a:cubicBezTo>
                    <a:pt x="1877733" y="218224"/>
                    <a:pt x="1931131" y="203596"/>
                    <a:pt x="1985815" y="196159"/>
                  </a:cubicBezTo>
                  <a:lnTo>
                    <a:pt x="2470602" y="762817"/>
                  </a:lnTo>
                  <a:cubicBezTo>
                    <a:pt x="2546616" y="851723"/>
                    <a:pt x="2657223" y="902697"/>
                    <a:pt x="2774064" y="902697"/>
                  </a:cubicBezTo>
                  <a:lnTo>
                    <a:pt x="5071260" y="902697"/>
                  </a:lnTo>
                  <a:cubicBezTo>
                    <a:pt x="5325184" y="902697"/>
                    <a:pt x="5778249" y="932498"/>
                    <a:pt x="6113928" y="1119285"/>
                  </a:cubicBezTo>
                  <a:lnTo>
                    <a:pt x="6086858" y="1119285"/>
                  </a:lnTo>
                  <a:cubicBezTo>
                    <a:pt x="6034351" y="1119285"/>
                    <a:pt x="5991841" y="1161928"/>
                    <a:pt x="5991841" y="1214488"/>
                  </a:cubicBezTo>
                  <a:cubicBezTo>
                    <a:pt x="5991841" y="1267098"/>
                    <a:pt x="6034351" y="1309691"/>
                    <a:pt x="6086858" y="1309691"/>
                  </a:cubicBezTo>
                  <a:lnTo>
                    <a:pt x="6292581" y="1309691"/>
                  </a:lnTo>
                  <a:cubicBezTo>
                    <a:pt x="6295105" y="1322782"/>
                    <a:pt x="6296490" y="1336170"/>
                    <a:pt x="6296490" y="1349756"/>
                  </a:cubicBezTo>
                  <a:lnTo>
                    <a:pt x="6296490" y="1526329"/>
                  </a:lnTo>
                  <a:lnTo>
                    <a:pt x="6001095" y="1526329"/>
                  </a:lnTo>
                  <a:cubicBezTo>
                    <a:pt x="5897170" y="1344153"/>
                    <a:pt x="5701493" y="1221083"/>
                    <a:pt x="5477509" y="1221083"/>
                  </a:cubicBezTo>
                  <a:cubicBezTo>
                    <a:pt x="5253525" y="1221083"/>
                    <a:pt x="5057849" y="1344153"/>
                    <a:pt x="4953923" y="1526329"/>
                  </a:cubicBezTo>
                  <a:lnTo>
                    <a:pt x="4766660" y="1526329"/>
                  </a:lnTo>
                  <a:cubicBezTo>
                    <a:pt x="4714153" y="1526329"/>
                    <a:pt x="4671642" y="1568922"/>
                    <a:pt x="4671642" y="1621532"/>
                  </a:cubicBezTo>
                  <a:cubicBezTo>
                    <a:pt x="4671642" y="1674092"/>
                    <a:pt x="4714153" y="1716736"/>
                    <a:pt x="4766660" y="1716736"/>
                  </a:cubicBezTo>
                  <a:lnTo>
                    <a:pt x="4884590" y="1716736"/>
                  </a:lnTo>
                  <a:cubicBezTo>
                    <a:pt x="4878206" y="1751891"/>
                    <a:pt x="4874693" y="1788039"/>
                    <a:pt x="4874693" y="1825029"/>
                  </a:cubicBezTo>
                  <a:cubicBezTo>
                    <a:pt x="4874693" y="1862020"/>
                    <a:pt x="4878206" y="1898167"/>
                    <a:pt x="4884590" y="1933323"/>
                  </a:cubicBezTo>
                  <a:close/>
                  <a:moveTo>
                    <a:pt x="5477509" y="2238569"/>
                  </a:moveTo>
                  <a:cubicBezTo>
                    <a:pt x="5249913" y="2238569"/>
                    <a:pt x="5064728" y="2053071"/>
                    <a:pt x="5064728" y="1825029"/>
                  </a:cubicBezTo>
                  <a:cubicBezTo>
                    <a:pt x="5064728" y="1596988"/>
                    <a:pt x="5249913" y="1411440"/>
                    <a:pt x="5477509" y="1411440"/>
                  </a:cubicBezTo>
                  <a:cubicBezTo>
                    <a:pt x="5705106" y="1411440"/>
                    <a:pt x="5890291" y="1596988"/>
                    <a:pt x="5890291" y="1825029"/>
                  </a:cubicBezTo>
                  <a:cubicBezTo>
                    <a:pt x="5890291" y="2053071"/>
                    <a:pt x="5705106" y="2238569"/>
                    <a:pt x="5477509" y="2238569"/>
                  </a:cubicBezTo>
                  <a:close/>
                  <a:moveTo>
                    <a:pt x="6188408" y="1933323"/>
                  </a:moveTo>
                  <a:lnTo>
                    <a:pt x="6070428" y="1933323"/>
                  </a:lnTo>
                  <a:cubicBezTo>
                    <a:pt x="6076812" y="1898167"/>
                    <a:pt x="6080326" y="1862020"/>
                    <a:pt x="6080326" y="1825029"/>
                  </a:cubicBezTo>
                  <a:cubicBezTo>
                    <a:pt x="6080326" y="1788039"/>
                    <a:pt x="6076812" y="1751891"/>
                    <a:pt x="6070428" y="1716736"/>
                  </a:cubicBezTo>
                  <a:lnTo>
                    <a:pt x="6296490" y="1716736"/>
                  </a:lnTo>
                  <a:lnTo>
                    <a:pt x="6296490" y="1825029"/>
                  </a:lnTo>
                  <a:cubicBezTo>
                    <a:pt x="6296490" y="1884730"/>
                    <a:pt x="6247992" y="1933323"/>
                    <a:pt x="6188408" y="1933323"/>
                  </a:cubicBezTo>
                  <a:close/>
                </a:path>
              </a:pathLst>
            </a:custGeom>
            <a:grpFill/>
            <a:ln w="1266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342905"/>
              <a:endParaRPr lang="ru-RU">
                <a:solidFill>
                  <a:srgbClr val="00B050"/>
                </a:solidFill>
                <a:latin typeface="Calibri" panose="020F0502020204030204"/>
              </a:endParaRPr>
            </a:p>
          </p:txBody>
        </p:sp>
        <p:sp>
          <p:nvSpPr>
            <p:cNvPr id="98" name="Freeform: Shape 97">
              <a:extLst>
                <a:ext uri="{FF2B5EF4-FFF2-40B4-BE49-F238E27FC236}">
                  <a16:creationId xmlns:a16="http://schemas.microsoft.com/office/drawing/2014/main" id="{5BAFE096-2C9D-497F-A202-DF6C004B5353}"/>
                </a:ext>
              </a:extLst>
            </p:cNvPr>
            <p:cNvSpPr/>
            <p:nvPr/>
          </p:nvSpPr>
          <p:spPr>
            <a:xfrm>
              <a:off x="5609304" y="1662206"/>
              <a:ext cx="2322748" cy="597450"/>
            </a:xfrm>
            <a:custGeom>
              <a:avLst/>
              <a:gdLst>
                <a:gd name="connsiteX0" fmla="*/ 2227731 w 2322748"/>
                <a:gd name="connsiteY0" fmla="*/ 407044 h 597450"/>
                <a:gd name="connsiteX1" fmla="*/ 954992 w 2322748"/>
                <a:gd name="connsiteY1" fmla="*/ 407044 h 597450"/>
                <a:gd name="connsiteX2" fmla="*/ 739768 w 2322748"/>
                <a:gd name="connsiteY2" fmla="*/ 119500 h 597450"/>
                <a:gd name="connsiteX3" fmla="*/ 501234 w 2322748"/>
                <a:gd name="connsiteY3" fmla="*/ 0 h 597450"/>
                <a:gd name="connsiteX4" fmla="*/ 95035 w 2322748"/>
                <a:gd name="connsiteY4" fmla="*/ 0 h 597450"/>
                <a:gd name="connsiteX5" fmla="*/ 10063 w 2322748"/>
                <a:gd name="connsiteY5" fmla="*/ 52659 h 597450"/>
                <a:gd name="connsiteX6" fmla="*/ 19021 w 2322748"/>
                <a:gd name="connsiteY6" fmla="*/ 152325 h 597450"/>
                <a:gd name="connsiteX7" fmla="*/ 262750 w 2322748"/>
                <a:gd name="connsiteY7" fmla="*/ 477951 h 597450"/>
                <a:gd name="connsiteX8" fmla="*/ 501234 w 2322748"/>
                <a:gd name="connsiteY8" fmla="*/ 597451 h 597450"/>
                <a:gd name="connsiteX9" fmla="*/ 2227731 w 2322748"/>
                <a:gd name="connsiteY9" fmla="*/ 597451 h 597450"/>
                <a:gd name="connsiteX10" fmla="*/ 2322749 w 2322748"/>
                <a:gd name="connsiteY10" fmla="*/ 502248 h 597450"/>
                <a:gd name="connsiteX11" fmla="*/ 2227731 w 2322748"/>
                <a:gd name="connsiteY11" fmla="*/ 407044 h 597450"/>
                <a:gd name="connsiteX12" fmla="*/ 501234 w 2322748"/>
                <a:gd name="connsiteY12" fmla="*/ 407044 h 597450"/>
                <a:gd name="connsiteX13" fmla="*/ 414778 w 2322748"/>
                <a:gd name="connsiteY13" fmla="*/ 363707 h 597450"/>
                <a:gd name="connsiteX14" fmla="*/ 285070 w 2322748"/>
                <a:gd name="connsiteY14" fmla="*/ 190407 h 597450"/>
                <a:gd name="connsiteX15" fmla="*/ 501234 w 2322748"/>
                <a:gd name="connsiteY15" fmla="*/ 190407 h 597450"/>
                <a:gd name="connsiteX16" fmla="*/ 587740 w 2322748"/>
                <a:gd name="connsiteY16" fmla="*/ 233744 h 597450"/>
                <a:gd name="connsiteX17" fmla="*/ 717449 w 2322748"/>
                <a:gd name="connsiteY17" fmla="*/ 407044 h 597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2322748" h="597450">
                  <a:moveTo>
                    <a:pt x="2227731" y="407044"/>
                  </a:moveTo>
                  <a:lnTo>
                    <a:pt x="954992" y="407044"/>
                  </a:lnTo>
                  <a:lnTo>
                    <a:pt x="739768" y="119500"/>
                  </a:lnTo>
                  <a:cubicBezTo>
                    <a:pt x="683747" y="44676"/>
                    <a:pt x="594569" y="0"/>
                    <a:pt x="501234" y="0"/>
                  </a:cubicBezTo>
                  <a:lnTo>
                    <a:pt x="95035" y="0"/>
                  </a:lnTo>
                  <a:cubicBezTo>
                    <a:pt x="59007" y="0"/>
                    <a:pt x="26147" y="20379"/>
                    <a:pt x="10063" y="52659"/>
                  </a:cubicBezTo>
                  <a:cubicBezTo>
                    <a:pt x="-6070" y="84890"/>
                    <a:pt x="-2606" y="123516"/>
                    <a:pt x="19021" y="152325"/>
                  </a:cubicBezTo>
                  <a:lnTo>
                    <a:pt x="262750" y="477951"/>
                  </a:lnTo>
                  <a:cubicBezTo>
                    <a:pt x="318722" y="552775"/>
                    <a:pt x="407900" y="597451"/>
                    <a:pt x="501234" y="597451"/>
                  </a:cubicBezTo>
                  <a:lnTo>
                    <a:pt x="2227731" y="597451"/>
                  </a:lnTo>
                  <a:cubicBezTo>
                    <a:pt x="2280189" y="597451"/>
                    <a:pt x="2322749" y="554808"/>
                    <a:pt x="2322749" y="502248"/>
                  </a:cubicBezTo>
                  <a:cubicBezTo>
                    <a:pt x="2322749" y="449638"/>
                    <a:pt x="2280189" y="407044"/>
                    <a:pt x="2227731" y="407044"/>
                  </a:cubicBezTo>
                  <a:close/>
                  <a:moveTo>
                    <a:pt x="501234" y="407044"/>
                  </a:moveTo>
                  <a:cubicBezTo>
                    <a:pt x="467384" y="407044"/>
                    <a:pt x="435069" y="390830"/>
                    <a:pt x="414778" y="363707"/>
                  </a:cubicBezTo>
                  <a:lnTo>
                    <a:pt x="285070" y="190407"/>
                  </a:lnTo>
                  <a:lnTo>
                    <a:pt x="501234" y="190407"/>
                  </a:lnTo>
                  <a:cubicBezTo>
                    <a:pt x="535084" y="190407"/>
                    <a:pt x="567400" y="206621"/>
                    <a:pt x="587740" y="233744"/>
                  </a:cubicBezTo>
                  <a:lnTo>
                    <a:pt x="717449" y="407044"/>
                  </a:lnTo>
                  <a:close/>
                </a:path>
              </a:pathLst>
            </a:custGeom>
            <a:grpFill/>
            <a:ln w="1266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342905"/>
              <a:endParaRPr lang="ru-RU">
                <a:solidFill>
                  <a:srgbClr val="00B050"/>
                </a:solidFill>
                <a:latin typeface="Calibri" panose="020F0502020204030204"/>
              </a:endParaRPr>
            </a:p>
          </p:txBody>
        </p:sp>
        <p:sp>
          <p:nvSpPr>
            <p:cNvPr id="99" name="Freeform: Shape 98">
              <a:extLst>
                <a:ext uri="{FF2B5EF4-FFF2-40B4-BE49-F238E27FC236}">
                  <a16:creationId xmlns:a16="http://schemas.microsoft.com/office/drawing/2014/main" id="{0781A3BA-9FC8-47E8-9808-DA764D975C8C}"/>
                </a:ext>
              </a:extLst>
            </p:cNvPr>
            <p:cNvSpPr/>
            <p:nvPr/>
          </p:nvSpPr>
          <p:spPr>
            <a:xfrm>
              <a:off x="4492173" y="2170999"/>
              <a:ext cx="393134" cy="393904"/>
            </a:xfrm>
            <a:custGeom>
              <a:avLst/>
              <a:gdLst>
                <a:gd name="connsiteX0" fmla="*/ 196567 w 393134"/>
                <a:gd name="connsiteY0" fmla="*/ 0 h 393904"/>
                <a:gd name="connsiteX1" fmla="*/ 0 w 393134"/>
                <a:gd name="connsiteY1" fmla="*/ 196952 h 393904"/>
                <a:gd name="connsiteX2" fmla="*/ 196567 w 393134"/>
                <a:gd name="connsiteY2" fmla="*/ 393904 h 393904"/>
                <a:gd name="connsiteX3" fmla="*/ 393135 w 393134"/>
                <a:gd name="connsiteY3" fmla="*/ 196952 h 393904"/>
                <a:gd name="connsiteX4" fmla="*/ 196567 w 393134"/>
                <a:gd name="connsiteY4" fmla="*/ 0 h 3939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134" h="393904">
                  <a:moveTo>
                    <a:pt x="196567" y="0"/>
                  </a:moveTo>
                  <a:cubicBezTo>
                    <a:pt x="88188" y="0"/>
                    <a:pt x="0" y="88361"/>
                    <a:pt x="0" y="196952"/>
                  </a:cubicBezTo>
                  <a:cubicBezTo>
                    <a:pt x="0" y="305543"/>
                    <a:pt x="88188" y="393904"/>
                    <a:pt x="196567" y="393904"/>
                  </a:cubicBezTo>
                  <a:cubicBezTo>
                    <a:pt x="304996" y="393904"/>
                    <a:pt x="393135" y="305543"/>
                    <a:pt x="393135" y="196952"/>
                  </a:cubicBezTo>
                  <a:cubicBezTo>
                    <a:pt x="393135" y="88361"/>
                    <a:pt x="304996" y="0"/>
                    <a:pt x="196567" y="0"/>
                  </a:cubicBezTo>
                  <a:close/>
                </a:path>
              </a:pathLst>
            </a:custGeom>
            <a:grpFill/>
            <a:ln w="1266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342905"/>
              <a:endParaRPr lang="ru-RU">
                <a:solidFill>
                  <a:srgbClr val="00B050"/>
                </a:solidFill>
                <a:latin typeface="Calibri" panose="020F0502020204030204"/>
              </a:endParaRPr>
            </a:p>
          </p:txBody>
        </p:sp>
        <p:sp>
          <p:nvSpPr>
            <p:cNvPr id="100" name="Freeform: Shape 99">
              <a:extLst>
                <a:ext uri="{FF2B5EF4-FFF2-40B4-BE49-F238E27FC236}">
                  <a16:creationId xmlns:a16="http://schemas.microsoft.com/office/drawing/2014/main" id="{4FE16080-4173-402C-B914-DB99636DA207}"/>
                </a:ext>
              </a:extLst>
            </p:cNvPr>
            <p:cNvSpPr/>
            <p:nvPr/>
          </p:nvSpPr>
          <p:spPr>
            <a:xfrm>
              <a:off x="8757566" y="2170999"/>
              <a:ext cx="393134" cy="393904"/>
            </a:xfrm>
            <a:custGeom>
              <a:avLst/>
              <a:gdLst>
                <a:gd name="connsiteX0" fmla="*/ 196567 w 393134"/>
                <a:gd name="connsiteY0" fmla="*/ 0 h 393904"/>
                <a:gd name="connsiteX1" fmla="*/ 0 w 393134"/>
                <a:gd name="connsiteY1" fmla="*/ 196952 h 393904"/>
                <a:gd name="connsiteX2" fmla="*/ 196567 w 393134"/>
                <a:gd name="connsiteY2" fmla="*/ 393904 h 393904"/>
                <a:gd name="connsiteX3" fmla="*/ 393135 w 393134"/>
                <a:gd name="connsiteY3" fmla="*/ 196952 h 393904"/>
                <a:gd name="connsiteX4" fmla="*/ 196567 w 393134"/>
                <a:gd name="connsiteY4" fmla="*/ 0 h 3939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134" h="393904">
                  <a:moveTo>
                    <a:pt x="196567" y="0"/>
                  </a:moveTo>
                  <a:cubicBezTo>
                    <a:pt x="88188" y="0"/>
                    <a:pt x="0" y="88361"/>
                    <a:pt x="0" y="196952"/>
                  </a:cubicBezTo>
                  <a:cubicBezTo>
                    <a:pt x="0" y="305543"/>
                    <a:pt x="88188" y="393904"/>
                    <a:pt x="196567" y="393904"/>
                  </a:cubicBezTo>
                  <a:cubicBezTo>
                    <a:pt x="304947" y="393904"/>
                    <a:pt x="393135" y="305543"/>
                    <a:pt x="393135" y="196952"/>
                  </a:cubicBezTo>
                  <a:cubicBezTo>
                    <a:pt x="393135" y="88361"/>
                    <a:pt x="304947" y="0"/>
                    <a:pt x="196567" y="0"/>
                  </a:cubicBezTo>
                  <a:close/>
                </a:path>
              </a:pathLst>
            </a:custGeom>
            <a:grpFill/>
            <a:ln w="1266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342905"/>
              <a:endParaRPr lang="ru-RU">
                <a:solidFill>
                  <a:srgbClr val="00B050"/>
                </a:solidFill>
                <a:latin typeface="Calibri" panose="020F0502020204030204"/>
              </a:endParaRPr>
            </a:p>
          </p:txBody>
        </p:sp>
      </p:grpSp>
      <p:sp>
        <p:nvSpPr>
          <p:cNvPr id="33" name="TextBox 32">
            <a:extLst>
              <a:ext uri="{FF2B5EF4-FFF2-40B4-BE49-F238E27FC236}">
                <a16:creationId xmlns:a16="http://schemas.microsoft.com/office/drawing/2014/main" id="{2432CD0C-E0D8-4C83-9D89-24077B189AAE}"/>
              </a:ext>
            </a:extLst>
          </p:cNvPr>
          <p:cNvSpPr txBox="1"/>
          <p:nvPr/>
        </p:nvSpPr>
        <p:spPr>
          <a:xfrm>
            <a:off x="1885553" y="4756535"/>
            <a:ext cx="1343139" cy="214259"/>
          </a:xfrm>
          <a:prstGeom prst="rect">
            <a:avLst/>
          </a:prstGeom>
          <a:noFill/>
        </p:spPr>
        <p:txBody>
          <a:bodyPr wrap="square" lIns="26999" tIns="0" rIns="26999" bIns="0" rtlCol="0" anchor="ctr">
            <a:noAutofit/>
          </a:bodyPr>
          <a:lstStyle>
            <a:defPPr>
              <a:defRPr lang="en-US"/>
            </a:defPPr>
            <a:lvl1pPr algn="ctr">
              <a:defRPr sz="1600" b="1">
                <a:solidFill>
                  <a:srgbClr val="E94E1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defTabSz="342905"/>
            <a:r>
              <a:rPr lang="ru-RU" sz="675" b="0" dirty="0">
                <a:solidFill>
                  <a:srgbClr val="206595"/>
                </a:solidFill>
              </a:rPr>
              <a:t>ИТС (интеллектуальные транспортные системы) </a:t>
            </a:r>
          </a:p>
        </p:txBody>
      </p:sp>
      <p:grpSp>
        <p:nvGrpSpPr>
          <p:cNvPr id="108" name="Graphic 266">
            <a:extLst>
              <a:ext uri="{FF2B5EF4-FFF2-40B4-BE49-F238E27FC236}">
                <a16:creationId xmlns:a16="http://schemas.microsoft.com/office/drawing/2014/main" id="{A67EB61A-310A-409A-9CE2-B85FF1309D58}"/>
              </a:ext>
            </a:extLst>
          </p:cNvPr>
          <p:cNvGrpSpPr/>
          <p:nvPr/>
        </p:nvGrpSpPr>
        <p:grpSpPr>
          <a:xfrm>
            <a:off x="2399282" y="4442219"/>
            <a:ext cx="315680" cy="323291"/>
            <a:chOff x="4413292" y="1417647"/>
            <a:chExt cx="4613189" cy="4724406"/>
          </a:xfrm>
          <a:solidFill>
            <a:srgbClr val="E94E14"/>
          </a:solidFill>
        </p:grpSpPr>
        <p:sp>
          <p:nvSpPr>
            <p:cNvPr id="109" name="Freeform: Shape 108">
              <a:extLst>
                <a:ext uri="{FF2B5EF4-FFF2-40B4-BE49-F238E27FC236}">
                  <a16:creationId xmlns:a16="http://schemas.microsoft.com/office/drawing/2014/main" id="{062D478F-6407-455A-A785-D0FFE138A264}"/>
                </a:ext>
              </a:extLst>
            </p:cNvPr>
            <p:cNvSpPr/>
            <p:nvPr/>
          </p:nvSpPr>
          <p:spPr>
            <a:xfrm>
              <a:off x="7691292" y="5504115"/>
              <a:ext cx="820620" cy="637938"/>
            </a:xfrm>
            <a:custGeom>
              <a:avLst/>
              <a:gdLst>
                <a:gd name="connsiteX0" fmla="*/ 625483 w 820620"/>
                <a:gd name="connsiteY0" fmla="*/ 637938 h 637938"/>
                <a:gd name="connsiteX1" fmla="*/ 194215 w 820620"/>
                <a:gd name="connsiteY1" fmla="*/ 637938 h 637938"/>
                <a:gd name="connsiteX2" fmla="*/ 0 w 820620"/>
                <a:gd name="connsiteY2" fmla="*/ 442866 h 637938"/>
                <a:gd name="connsiteX3" fmla="*/ 0 w 820620"/>
                <a:gd name="connsiteY3" fmla="*/ 65903 h 637938"/>
                <a:gd name="connsiteX4" fmla="*/ 65903 w 820620"/>
                <a:gd name="connsiteY4" fmla="*/ 0 h 637938"/>
                <a:gd name="connsiteX5" fmla="*/ 754718 w 820620"/>
                <a:gd name="connsiteY5" fmla="*/ 0 h 637938"/>
                <a:gd name="connsiteX6" fmla="*/ 820621 w 820620"/>
                <a:gd name="connsiteY6" fmla="*/ 65903 h 637938"/>
                <a:gd name="connsiteX7" fmla="*/ 820621 w 820620"/>
                <a:gd name="connsiteY7" fmla="*/ 442866 h 637938"/>
                <a:gd name="connsiteX8" fmla="*/ 625483 w 820620"/>
                <a:gd name="connsiteY8" fmla="*/ 637938 h 637938"/>
                <a:gd name="connsiteX9" fmla="*/ 131806 w 820620"/>
                <a:gd name="connsiteY9" fmla="*/ 131805 h 637938"/>
                <a:gd name="connsiteX10" fmla="*/ 131806 w 820620"/>
                <a:gd name="connsiteY10" fmla="*/ 442866 h 637938"/>
                <a:gd name="connsiteX11" fmla="*/ 194215 w 820620"/>
                <a:gd name="connsiteY11" fmla="*/ 506133 h 637938"/>
                <a:gd name="connsiteX12" fmla="*/ 625483 w 820620"/>
                <a:gd name="connsiteY12" fmla="*/ 506133 h 637938"/>
                <a:gd name="connsiteX13" fmla="*/ 688815 w 820620"/>
                <a:gd name="connsiteY13" fmla="*/ 442866 h 637938"/>
                <a:gd name="connsiteX14" fmla="*/ 688815 w 820620"/>
                <a:gd name="connsiteY14" fmla="*/ 131805 h 6379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820620" h="637938">
                  <a:moveTo>
                    <a:pt x="625483" y="637938"/>
                  </a:moveTo>
                  <a:lnTo>
                    <a:pt x="194215" y="637938"/>
                  </a:lnTo>
                  <a:cubicBezTo>
                    <a:pt x="86769" y="637575"/>
                    <a:pt x="-110" y="550313"/>
                    <a:pt x="0" y="442866"/>
                  </a:cubicBezTo>
                  <a:lnTo>
                    <a:pt x="0" y="65903"/>
                  </a:lnTo>
                  <a:cubicBezTo>
                    <a:pt x="0" y="29506"/>
                    <a:pt x="29506" y="0"/>
                    <a:pt x="65903" y="0"/>
                  </a:cubicBezTo>
                  <a:lnTo>
                    <a:pt x="754718" y="0"/>
                  </a:lnTo>
                  <a:cubicBezTo>
                    <a:pt x="791115" y="0"/>
                    <a:pt x="820621" y="29506"/>
                    <a:pt x="820621" y="65903"/>
                  </a:cubicBezTo>
                  <a:lnTo>
                    <a:pt x="820621" y="442866"/>
                  </a:lnTo>
                  <a:cubicBezTo>
                    <a:pt x="820475" y="550567"/>
                    <a:pt x="733184" y="637830"/>
                    <a:pt x="625483" y="637938"/>
                  </a:cubicBezTo>
                  <a:close/>
                  <a:moveTo>
                    <a:pt x="131806" y="131805"/>
                  </a:moveTo>
                  <a:lnTo>
                    <a:pt x="131806" y="442866"/>
                  </a:lnTo>
                  <a:cubicBezTo>
                    <a:pt x="131586" y="477564"/>
                    <a:pt x="159518" y="505879"/>
                    <a:pt x="194215" y="506133"/>
                  </a:cubicBezTo>
                  <a:lnTo>
                    <a:pt x="625483" y="506133"/>
                  </a:lnTo>
                  <a:cubicBezTo>
                    <a:pt x="660242" y="505672"/>
                    <a:pt x="688318" y="477625"/>
                    <a:pt x="688815" y="442866"/>
                  </a:cubicBezTo>
                  <a:lnTo>
                    <a:pt x="688815" y="131805"/>
                  </a:lnTo>
                  <a:close/>
                </a:path>
              </a:pathLst>
            </a:custGeom>
            <a:grpFill/>
            <a:ln w="3175" cap="flat">
              <a:solidFill>
                <a:srgbClr val="206595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342905"/>
              <a:endParaRPr lang="ru-RU">
                <a:solidFill>
                  <a:srgbClr val="206595"/>
                </a:solidFill>
                <a:latin typeface="Calibri" panose="020F0502020204030204"/>
              </a:endParaRPr>
            </a:p>
          </p:txBody>
        </p:sp>
        <p:sp>
          <p:nvSpPr>
            <p:cNvPr id="110" name="Freeform: Shape 109">
              <a:extLst>
                <a:ext uri="{FF2B5EF4-FFF2-40B4-BE49-F238E27FC236}">
                  <a16:creationId xmlns:a16="http://schemas.microsoft.com/office/drawing/2014/main" id="{A6836A88-8EAA-462F-B314-E41C289131C1}"/>
                </a:ext>
              </a:extLst>
            </p:cNvPr>
            <p:cNvSpPr/>
            <p:nvPr/>
          </p:nvSpPr>
          <p:spPr>
            <a:xfrm>
              <a:off x="4927860" y="5504115"/>
              <a:ext cx="820620" cy="637938"/>
            </a:xfrm>
            <a:custGeom>
              <a:avLst/>
              <a:gdLst>
                <a:gd name="connsiteX0" fmla="*/ 626405 w 820620"/>
                <a:gd name="connsiteY0" fmla="*/ 637938 h 637938"/>
                <a:gd name="connsiteX1" fmla="*/ 195138 w 820620"/>
                <a:gd name="connsiteY1" fmla="*/ 637938 h 637938"/>
                <a:gd name="connsiteX2" fmla="*/ 0 w 820620"/>
                <a:gd name="connsiteY2" fmla="*/ 442866 h 637938"/>
                <a:gd name="connsiteX3" fmla="*/ 0 w 820620"/>
                <a:gd name="connsiteY3" fmla="*/ 65903 h 637938"/>
                <a:gd name="connsiteX4" fmla="*/ 65903 w 820620"/>
                <a:gd name="connsiteY4" fmla="*/ 0 h 637938"/>
                <a:gd name="connsiteX5" fmla="*/ 754718 w 820620"/>
                <a:gd name="connsiteY5" fmla="*/ 0 h 637938"/>
                <a:gd name="connsiteX6" fmla="*/ 820621 w 820620"/>
                <a:gd name="connsiteY6" fmla="*/ 65903 h 637938"/>
                <a:gd name="connsiteX7" fmla="*/ 820621 w 820620"/>
                <a:gd name="connsiteY7" fmla="*/ 442866 h 637938"/>
                <a:gd name="connsiteX8" fmla="*/ 626405 w 820620"/>
                <a:gd name="connsiteY8" fmla="*/ 637938 h 637938"/>
                <a:gd name="connsiteX9" fmla="*/ 132135 w 820620"/>
                <a:gd name="connsiteY9" fmla="*/ 131805 h 637938"/>
                <a:gd name="connsiteX10" fmla="*/ 132135 w 820620"/>
                <a:gd name="connsiteY10" fmla="*/ 442866 h 637938"/>
                <a:gd name="connsiteX11" fmla="*/ 195467 w 820620"/>
                <a:gd name="connsiteY11" fmla="*/ 506133 h 637938"/>
                <a:gd name="connsiteX12" fmla="*/ 626735 w 820620"/>
                <a:gd name="connsiteY12" fmla="*/ 506133 h 637938"/>
                <a:gd name="connsiteX13" fmla="*/ 689145 w 820620"/>
                <a:gd name="connsiteY13" fmla="*/ 442866 h 637938"/>
                <a:gd name="connsiteX14" fmla="*/ 689145 w 820620"/>
                <a:gd name="connsiteY14" fmla="*/ 131805 h 6379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820620" h="637938">
                  <a:moveTo>
                    <a:pt x="626405" y="637938"/>
                  </a:moveTo>
                  <a:lnTo>
                    <a:pt x="195138" y="637938"/>
                  </a:lnTo>
                  <a:cubicBezTo>
                    <a:pt x="87437" y="637829"/>
                    <a:pt x="145" y="550567"/>
                    <a:pt x="0" y="442866"/>
                  </a:cubicBezTo>
                  <a:lnTo>
                    <a:pt x="0" y="65903"/>
                  </a:lnTo>
                  <a:cubicBezTo>
                    <a:pt x="0" y="29506"/>
                    <a:pt x="29506" y="0"/>
                    <a:pt x="65903" y="0"/>
                  </a:cubicBezTo>
                  <a:lnTo>
                    <a:pt x="754718" y="0"/>
                  </a:lnTo>
                  <a:cubicBezTo>
                    <a:pt x="791115" y="0"/>
                    <a:pt x="820621" y="29506"/>
                    <a:pt x="820621" y="65903"/>
                  </a:cubicBezTo>
                  <a:lnTo>
                    <a:pt x="820621" y="442866"/>
                  </a:lnTo>
                  <a:cubicBezTo>
                    <a:pt x="820730" y="550313"/>
                    <a:pt x="733851" y="637575"/>
                    <a:pt x="626405" y="637938"/>
                  </a:cubicBezTo>
                  <a:close/>
                  <a:moveTo>
                    <a:pt x="132135" y="131805"/>
                  </a:moveTo>
                  <a:lnTo>
                    <a:pt x="132135" y="442866"/>
                  </a:lnTo>
                  <a:cubicBezTo>
                    <a:pt x="132632" y="477625"/>
                    <a:pt x="160708" y="505672"/>
                    <a:pt x="195467" y="506133"/>
                  </a:cubicBezTo>
                  <a:lnTo>
                    <a:pt x="626735" y="506133"/>
                  </a:lnTo>
                  <a:cubicBezTo>
                    <a:pt x="661432" y="505879"/>
                    <a:pt x="689364" y="477564"/>
                    <a:pt x="689145" y="442866"/>
                  </a:cubicBezTo>
                  <a:lnTo>
                    <a:pt x="689145" y="131805"/>
                  </a:lnTo>
                  <a:close/>
                </a:path>
              </a:pathLst>
            </a:custGeom>
            <a:grpFill/>
            <a:ln w="3175" cap="flat">
              <a:solidFill>
                <a:srgbClr val="206595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342905"/>
              <a:endParaRPr lang="ru-RU">
                <a:solidFill>
                  <a:srgbClr val="206595"/>
                </a:solidFill>
                <a:latin typeface="Calibri" panose="020F0502020204030204"/>
              </a:endParaRPr>
            </a:p>
          </p:txBody>
        </p:sp>
        <p:sp>
          <p:nvSpPr>
            <p:cNvPr id="111" name="Freeform: Shape 110">
              <a:extLst>
                <a:ext uri="{FF2B5EF4-FFF2-40B4-BE49-F238E27FC236}">
                  <a16:creationId xmlns:a16="http://schemas.microsoft.com/office/drawing/2014/main" id="{F3B166B2-A152-4ED1-9C03-633097808D93}"/>
                </a:ext>
              </a:extLst>
            </p:cNvPr>
            <p:cNvSpPr/>
            <p:nvPr/>
          </p:nvSpPr>
          <p:spPr>
            <a:xfrm>
              <a:off x="6400917" y="5070936"/>
              <a:ext cx="637938" cy="131805"/>
            </a:xfrm>
            <a:custGeom>
              <a:avLst/>
              <a:gdLst>
                <a:gd name="connsiteX0" fmla="*/ 572036 w 637938"/>
                <a:gd name="connsiteY0" fmla="*/ 131805 h 131805"/>
                <a:gd name="connsiteX1" fmla="*/ 65903 w 637938"/>
                <a:gd name="connsiteY1" fmla="*/ 131805 h 131805"/>
                <a:gd name="connsiteX2" fmla="*/ 0 w 637938"/>
                <a:gd name="connsiteY2" fmla="*/ 65903 h 131805"/>
                <a:gd name="connsiteX3" fmla="*/ 65903 w 637938"/>
                <a:gd name="connsiteY3" fmla="*/ 0 h 131805"/>
                <a:gd name="connsiteX4" fmla="*/ 572036 w 637938"/>
                <a:gd name="connsiteY4" fmla="*/ 0 h 131805"/>
                <a:gd name="connsiteX5" fmla="*/ 637938 w 637938"/>
                <a:gd name="connsiteY5" fmla="*/ 65903 h 131805"/>
                <a:gd name="connsiteX6" fmla="*/ 572036 w 637938"/>
                <a:gd name="connsiteY6" fmla="*/ 131805 h 1318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37938" h="131805">
                  <a:moveTo>
                    <a:pt x="572036" y="131805"/>
                  </a:moveTo>
                  <a:lnTo>
                    <a:pt x="65903" y="131805"/>
                  </a:lnTo>
                  <a:cubicBezTo>
                    <a:pt x="29506" y="131805"/>
                    <a:pt x="0" y="102300"/>
                    <a:pt x="0" y="65903"/>
                  </a:cubicBezTo>
                  <a:cubicBezTo>
                    <a:pt x="0" y="29506"/>
                    <a:pt x="29506" y="0"/>
                    <a:pt x="65903" y="0"/>
                  </a:cubicBezTo>
                  <a:lnTo>
                    <a:pt x="572036" y="0"/>
                  </a:lnTo>
                  <a:cubicBezTo>
                    <a:pt x="608433" y="0"/>
                    <a:pt x="637938" y="29506"/>
                    <a:pt x="637938" y="65903"/>
                  </a:cubicBezTo>
                  <a:cubicBezTo>
                    <a:pt x="637938" y="102300"/>
                    <a:pt x="608433" y="131805"/>
                    <a:pt x="572036" y="131805"/>
                  </a:cubicBezTo>
                  <a:close/>
                </a:path>
              </a:pathLst>
            </a:custGeom>
            <a:grpFill/>
            <a:ln w="3175" cap="flat">
              <a:solidFill>
                <a:srgbClr val="206595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342905"/>
              <a:endParaRPr lang="ru-RU">
                <a:solidFill>
                  <a:srgbClr val="206595"/>
                </a:solidFill>
                <a:latin typeface="Calibri" panose="020F0502020204030204"/>
              </a:endParaRPr>
            </a:p>
          </p:txBody>
        </p:sp>
        <p:sp>
          <p:nvSpPr>
            <p:cNvPr id="112" name="Freeform: Shape 111">
              <a:extLst>
                <a:ext uri="{FF2B5EF4-FFF2-40B4-BE49-F238E27FC236}">
                  <a16:creationId xmlns:a16="http://schemas.microsoft.com/office/drawing/2014/main" id="{700C2D54-364F-434D-A69E-D65E32799C63}"/>
                </a:ext>
              </a:extLst>
            </p:cNvPr>
            <p:cNvSpPr/>
            <p:nvPr/>
          </p:nvSpPr>
          <p:spPr>
            <a:xfrm>
              <a:off x="4413292" y="3717163"/>
              <a:ext cx="677743" cy="470149"/>
            </a:xfrm>
            <a:custGeom>
              <a:avLst/>
              <a:gdLst>
                <a:gd name="connsiteX0" fmla="*/ 611841 w 677743"/>
                <a:gd name="connsiteY0" fmla="*/ 470150 h 470149"/>
                <a:gd name="connsiteX1" fmla="*/ 185318 w 677743"/>
                <a:gd name="connsiteY1" fmla="*/ 470150 h 470149"/>
                <a:gd name="connsiteX2" fmla="*/ 0 w 677743"/>
                <a:gd name="connsiteY2" fmla="*/ 284831 h 470149"/>
                <a:gd name="connsiteX3" fmla="*/ 0 w 677743"/>
                <a:gd name="connsiteY3" fmla="*/ 185318 h 470149"/>
                <a:gd name="connsiteX4" fmla="*/ 185318 w 677743"/>
                <a:gd name="connsiteY4" fmla="*/ 0 h 470149"/>
                <a:gd name="connsiteX5" fmla="*/ 492425 w 677743"/>
                <a:gd name="connsiteY5" fmla="*/ 0 h 470149"/>
                <a:gd name="connsiteX6" fmla="*/ 677743 w 677743"/>
                <a:gd name="connsiteY6" fmla="*/ 185318 h 470149"/>
                <a:gd name="connsiteX7" fmla="*/ 677743 w 677743"/>
                <a:gd name="connsiteY7" fmla="*/ 404247 h 470149"/>
                <a:gd name="connsiteX8" fmla="*/ 611841 w 677743"/>
                <a:gd name="connsiteY8" fmla="*/ 470150 h 470149"/>
                <a:gd name="connsiteX9" fmla="*/ 185318 w 677743"/>
                <a:gd name="connsiteY9" fmla="*/ 131805 h 470149"/>
                <a:gd name="connsiteX10" fmla="*/ 131805 w 677743"/>
                <a:gd name="connsiteY10" fmla="*/ 185318 h 470149"/>
                <a:gd name="connsiteX11" fmla="*/ 131805 w 677743"/>
                <a:gd name="connsiteY11" fmla="*/ 284831 h 470149"/>
                <a:gd name="connsiteX12" fmla="*/ 185318 w 677743"/>
                <a:gd name="connsiteY12" fmla="*/ 338344 h 470149"/>
                <a:gd name="connsiteX13" fmla="*/ 545938 w 677743"/>
                <a:gd name="connsiteY13" fmla="*/ 338344 h 470149"/>
                <a:gd name="connsiteX14" fmla="*/ 545938 w 677743"/>
                <a:gd name="connsiteY14" fmla="*/ 185318 h 470149"/>
                <a:gd name="connsiteX15" fmla="*/ 492425 w 677743"/>
                <a:gd name="connsiteY15" fmla="*/ 131805 h 4701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677743" h="470149">
                  <a:moveTo>
                    <a:pt x="611841" y="470150"/>
                  </a:moveTo>
                  <a:lnTo>
                    <a:pt x="185318" y="470150"/>
                  </a:lnTo>
                  <a:cubicBezTo>
                    <a:pt x="83015" y="470041"/>
                    <a:pt x="109" y="387135"/>
                    <a:pt x="0" y="284831"/>
                  </a:cubicBezTo>
                  <a:lnTo>
                    <a:pt x="0" y="185318"/>
                  </a:lnTo>
                  <a:cubicBezTo>
                    <a:pt x="109" y="83015"/>
                    <a:pt x="83015" y="109"/>
                    <a:pt x="185318" y="0"/>
                  </a:cubicBezTo>
                  <a:lnTo>
                    <a:pt x="492425" y="0"/>
                  </a:lnTo>
                  <a:cubicBezTo>
                    <a:pt x="594728" y="109"/>
                    <a:pt x="677634" y="83015"/>
                    <a:pt x="677743" y="185318"/>
                  </a:cubicBezTo>
                  <a:lnTo>
                    <a:pt x="677743" y="404247"/>
                  </a:lnTo>
                  <a:cubicBezTo>
                    <a:pt x="677743" y="440644"/>
                    <a:pt x="648238" y="470150"/>
                    <a:pt x="611841" y="470150"/>
                  </a:cubicBezTo>
                  <a:close/>
                  <a:moveTo>
                    <a:pt x="185318" y="131805"/>
                  </a:moveTo>
                  <a:cubicBezTo>
                    <a:pt x="155779" y="131842"/>
                    <a:pt x="131842" y="155779"/>
                    <a:pt x="131805" y="185318"/>
                  </a:cubicBezTo>
                  <a:lnTo>
                    <a:pt x="131805" y="284831"/>
                  </a:lnTo>
                  <a:cubicBezTo>
                    <a:pt x="131842" y="314371"/>
                    <a:pt x="155779" y="338308"/>
                    <a:pt x="185318" y="338344"/>
                  </a:cubicBezTo>
                  <a:lnTo>
                    <a:pt x="545938" y="338344"/>
                  </a:lnTo>
                  <a:lnTo>
                    <a:pt x="545938" y="185318"/>
                  </a:lnTo>
                  <a:cubicBezTo>
                    <a:pt x="545902" y="155779"/>
                    <a:pt x="521964" y="131842"/>
                    <a:pt x="492425" y="131805"/>
                  </a:cubicBezTo>
                  <a:close/>
                </a:path>
              </a:pathLst>
            </a:custGeom>
            <a:grpFill/>
            <a:ln w="3175" cap="flat">
              <a:solidFill>
                <a:srgbClr val="206595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342905"/>
              <a:endParaRPr lang="ru-RU">
                <a:solidFill>
                  <a:srgbClr val="206595"/>
                </a:solidFill>
                <a:latin typeface="Calibri" panose="020F0502020204030204"/>
              </a:endParaRPr>
            </a:p>
          </p:txBody>
        </p:sp>
        <p:sp>
          <p:nvSpPr>
            <p:cNvPr id="113" name="Freeform: Shape 112">
              <a:extLst>
                <a:ext uri="{FF2B5EF4-FFF2-40B4-BE49-F238E27FC236}">
                  <a16:creationId xmlns:a16="http://schemas.microsoft.com/office/drawing/2014/main" id="{47BDDDBE-4995-4B61-A208-E06E5437575E}"/>
                </a:ext>
              </a:extLst>
            </p:cNvPr>
            <p:cNvSpPr/>
            <p:nvPr/>
          </p:nvSpPr>
          <p:spPr>
            <a:xfrm>
              <a:off x="8348738" y="3717163"/>
              <a:ext cx="677743" cy="470149"/>
            </a:xfrm>
            <a:custGeom>
              <a:avLst/>
              <a:gdLst>
                <a:gd name="connsiteX0" fmla="*/ 492425 w 677743"/>
                <a:gd name="connsiteY0" fmla="*/ 470150 h 470149"/>
                <a:gd name="connsiteX1" fmla="*/ 65903 w 677743"/>
                <a:gd name="connsiteY1" fmla="*/ 470150 h 470149"/>
                <a:gd name="connsiteX2" fmla="*/ 0 w 677743"/>
                <a:gd name="connsiteY2" fmla="*/ 404247 h 470149"/>
                <a:gd name="connsiteX3" fmla="*/ 0 w 677743"/>
                <a:gd name="connsiteY3" fmla="*/ 185318 h 470149"/>
                <a:gd name="connsiteX4" fmla="*/ 185318 w 677743"/>
                <a:gd name="connsiteY4" fmla="*/ 0 h 470149"/>
                <a:gd name="connsiteX5" fmla="*/ 492425 w 677743"/>
                <a:gd name="connsiteY5" fmla="*/ 0 h 470149"/>
                <a:gd name="connsiteX6" fmla="*/ 677743 w 677743"/>
                <a:gd name="connsiteY6" fmla="*/ 185318 h 470149"/>
                <a:gd name="connsiteX7" fmla="*/ 677743 w 677743"/>
                <a:gd name="connsiteY7" fmla="*/ 284831 h 470149"/>
                <a:gd name="connsiteX8" fmla="*/ 492425 w 677743"/>
                <a:gd name="connsiteY8" fmla="*/ 470150 h 470149"/>
                <a:gd name="connsiteX9" fmla="*/ 131805 w 677743"/>
                <a:gd name="connsiteY9" fmla="*/ 338344 h 470149"/>
                <a:gd name="connsiteX10" fmla="*/ 492425 w 677743"/>
                <a:gd name="connsiteY10" fmla="*/ 338344 h 470149"/>
                <a:gd name="connsiteX11" fmla="*/ 545938 w 677743"/>
                <a:gd name="connsiteY11" fmla="*/ 284831 h 470149"/>
                <a:gd name="connsiteX12" fmla="*/ 545938 w 677743"/>
                <a:gd name="connsiteY12" fmla="*/ 185318 h 470149"/>
                <a:gd name="connsiteX13" fmla="*/ 492425 w 677743"/>
                <a:gd name="connsiteY13" fmla="*/ 131805 h 470149"/>
                <a:gd name="connsiteX14" fmla="*/ 185318 w 677743"/>
                <a:gd name="connsiteY14" fmla="*/ 131805 h 470149"/>
                <a:gd name="connsiteX15" fmla="*/ 131805 w 677743"/>
                <a:gd name="connsiteY15" fmla="*/ 185318 h 4701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677743" h="470149">
                  <a:moveTo>
                    <a:pt x="492425" y="470150"/>
                  </a:moveTo>
                  <a:lnTo>
                    <a:pt x="65903" y="470150"/>
                  </a:lnTo>
                  <a:cubicBezTo>
                    <a:pt x="29506" y="470150"/>
                    <a:pt x="0" y="440644"/>
                    <a:pt x="0" y="404247"/>
                  </a:cubicBezTo>
                  <a:lnTo>
                    <a:pt x="0" y="185318"/>
                  </a:lnTo>
                  <a:cubicBezTo>
                    <a:pt x="109" y="83015"/>
                    <a:pt x="83015" y="109"/>
                    <a:pt x="185318" y="0"/>
                  </a:cubicBezTo>
                  <a:lnTo>
                    <a:pt x="492425" y="0"/>
                  </a:lnTo>
                  <a:cubicBezTo>
                    <a:pt x="594729" y="109"/>
                    <a:pt x="677635" y="83015"/>
                    <a:pt x="677743" y="185318"/>
                  </a:cubicBezTo>
                  <a:lnTo>
                    <a:pt x="677743" y="284831"/>
                  </a:lnTo>
                  <a:cubicBezTo>
                    <a:pt x="677634" y="387135"/>
                    <a:pt x="594729" y="470041"/>
                    <a:pt x="492425" y="470150"/>
                  </a:cubicBezTo>
                  <a:close/>
                  <a:moveTo>
                    <a:pt x="131805" y="338344"/>
                  </a:moveTo>
                  <a:lnTo>
                    <a:pt x="492425" y="338344"/>
                  </a:lnTo>
                  <a:cubicBezTo>
                    <a:pt x="521965" y="338308"/>
                    <a:pt x="545902" y="314371"/>
                    <a:pt x="545938" y="284831"/>
                  </a:cubicBezTo>
                  <a:lnTo>
                    <a:pt x="545938" y="185318"/>
                  </a:lnTo>
                  <a:cubicBezTo>
                    <a:pt x="545902" y="155779"/>
                    <a:pt x="521965" y="131842"/>
                    <a:pt x="492425" y="131805"/>
                  </a:cubicBezTo>
                  <a:lnTo>
                    <a:pt x="185318" y="131805"/>
                  </a:lnTo>
                  <a:cubicBezTo>
                    <a:pt x="155779" y="131842"/>
                    <a:pt x="131842" y="155779"/>
                    <a:pt x="131805" y="185318"/>
                  </a:cubicBezTo>
                  <a:close/>
                </a:path>
              </a:pathLst>
            </a:custGeom>
            <a:grpFill/>
            <a:ln w="3175" cap="flat">
              <a:solidFill>
                <a:srgbClr val="206595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342905"/>
              <a:endParaRPr lang="ru-RU">
                <a:solidFill>
                  <a:srgbClr val="206595"/>
                </a:solidFill>
                <a:latin typeface="Calibri" panose="020F0502020204030204"/>
              </a:endParaRPr>
            </a:p>
          </p:txBody>
        </p:sp>
        <p:sp>
          <p:nvSpPr>
            <p:cNvPr id="114" name="Freeform: Shape 113">
              <a:extLst>
                <a:ext uri="{FF2B5EF4-FFF2-40B4-BE49-F238E27FC236}">
                  <a16:creationId xmlns:a16="http://schemas.microsoft.com/office/drawing/2014/main" id="{EAE6023D-406E-4CD6-B02A-DD10AFF3A0EC}"/>
                </a:ext>
              </a:extLst>
            </p:cNvPr>
            <p:cNvSpPr/>
            <p:nvPr/>
          </p:nvSpPr>
          <p:spPr>
            <a:xfrm>
              <a:off x="6119537" y="1417647"/>
              <a:ext cx="1229043" cy="378518"/>
            </a:xfrm>
            <a:custGeom>
              <a:avLst/>
              <a:gdLst>
                <a:gd name="connsiteX0" fmla="*/ 1163225 w 1229043"/>
                <a:gd name="connsiteY0" fmla="*/ 378518 h 378518"/>
                <a:gd name="connsiteX1" fmla="*/ 1115050 w 1229043"/>
                <a:gd name="connsiteY1" fmla="*/ 357561 h 378518"/>
                <a:gd name="connsiteX2" fmla="*/ 110824 w 1229043"/>
                <a:gd name="connsiteY2" fmla="*/ 321842 h 378518"/>
                <a:gd name="connsiteX3" fmla="*/ 17671 w 1229043"/>
                <a:gd name="connsiteY3" fmla="*/ 318514 h 378518"/>
                <a:gd name="connsiteX4" fmla="*/ 20999 w 1229043"/>
                <a:gd name="connsiteY4" fmla="*/ 225361 h 378518"/>
                <a:gd name="connsiteX5" fmla="*/ 1211400 w 1229043"/>
                <a:gd name="connsiteY5" fmla="*/ 267736 h 378518"/>
                <a:gd name="connsiteX6" fmla="*/ 1208020 w 1229043"/>
                <a:gd name="connsiteY6" fmla="*/ 360875 h 378518"/>
                <a:gd name="connsiteX7" fmla="*/ 1163225 w 1229043"/>
                <a:gd name="connsiteY7" fmla="*/ 378519 h 378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29043" h="378518">
                  <a:moveTo>
                    <a:pt x="1163225" y="378518"/>
                  </a:moveTo>
                  <a:cubicBezTo>
                    <a:pt x="1144956" y="378512"/>
                    <a:pt x="1127509" y="370922"/>
                    <a:pt x="1115050" y="357561"/>
                  </a:cubicBezTo>
                  <a:cubicBezTo>
                    <a:pt x="847404" y="70828"/>
                    <a:pt x="398166" y="54849"/>
                    <a:pt x="110824" y="321842"/>
                  </a:cubicBezTo>
                  <a:cubicBezTo>
                    <a:pt x="84182" y="346647"/>
                    <a:pt x="42476" y="345157"/>
                    <a:pt x="17671" y="318514"/>
                  </a:cubicBezTo>
                  <a:cubicBezTo>
                    <a:pt x="-7134" y="291871"/>
                    <a:pt x="-5644" y="250165"/>
                    <a:pt x="20999" y="225361"/>
                  </a:cubicBezTo>
                  <a:cubicBezTo>
                    <a:pt x="361687" y="-90942"/>
                    <a:pt x="894064" y="-71991"/>
                    <a:pt x="1211400" y="267736"/>
                  </a:cubicBezTo>
                  <a:cubicBezTo>
                    <a:pt x="1236186" y="294389"/>
                    <a:pt x="1234673" y="336089"/>
                    <a:pt x="1208020" y="360875"/>
                  </a:cubicBezTo>
                  <a:cubicBezTo>
                    <a:pt x="1195848" y="372195"/>
                    <a:pt x="1179848" y="378497"/>
                    <a:pt x="1163225" y="378519"/>
                  </a:cubicBezTo>
                  <a:close/>
                </a:path>
              </a:pathLst>
            </a:custGeom>
            <a:grpFill/>
            <a:ln w="3175" cap="flat">
              <a:solidFill>
                <a:srgbClr val="206595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342905"/>
              <a:endParaRPr lang="ru-RU">
                <a:solidFill>
                  <a:srgbClr val="206595"/>
                </a:solidFill>
                <a:latin typeface="Calibri" panose="020F0502020204030204"/>
              </a:endParaRPr>
            </a:p>
          </p:txBody>
        </p:sp>
        <p:sp>
          <p:nvSpPr>
            <p:cNvPr id="115" name="Freeform: Shape 114">
              <a:extLst>
                <a:ext uri="{FF2B5EF4-FFF2-40B4-BE49-F238E27FC236}">
                  <a16:creationId xmlns:a16="http://schemas.microsoft.com/office/drawing/2014/main" id="{C2546290-B074-4930-A7D1-BCB5DF5C9162}"/>
                </a:ext>
              </a:extLst>
            </p:cNvPr>
            <p:cNvSpPr/>
            <p:nvPr/>
          </p:nvSpPr>
          <p:spPr>
            <a:xfrm>
              <a:off x="6319947" y="1711514"/>
              <a:ext cx="813588" cy="285193"/>
            </a:xfrm>
            <a:custGeom>
              <a:avLst/>
              <a:gdLst>
                <a:gd name="connsiteX0" fmla="*/ 747642 w 813588"/>
                <a:gd name="connsiteY0" fmla="*/ 285193 h 285193"/>
                <a:gd name="connsiteX1" fmla="*/ 699467 w 813588"/>
                <a:gd name="connsiteY1" fmla="*/ 264236 h 285193"/>
                <a:gd name="connsiteX2" fmla="*/ 110824 w 813588"/>
                <a:gd name="connsiteY2" fmla="*/ 243279 h 285193"/>
                <a:gd name="connsiteX3" fmla="*/ 17671 w 813588"/>
                <a:gd name="connsiteY3" fmla="*/ 239951 h 285193"/>
                <a:gd name="connsiteX4" fmla="*/ 20999 w 813588"/>
                <a:gd name="connsiteY4" fmla="*/ 146798 h 285193"/>
                <a:gd name="connsiteX5" fmla="*/ 795883 w 813588"/>
                <a:gd name="connsiteY5" fmla="*/ 174345 h 285193"/>
                <a:gd name="connsiteX6" fmla="*/ 792631 w 813588"/>
                <a:gd name="connsiteY6" fmla="*/ 267489 h 285193"/>
                <a:gd name="connsiteX7" fmla="*/ 747642 w 813588"/>
                <a:gd name="connsiteY7" fmla="*/ 285193 h 2851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13588" h="285193">
                  <a:moveTo>
                    <a:pt x="747642" y="285193"/>
                  </a:moveTo>
                  <a:cubicBezTo>
                    <a:pt x="729373" y="285187"/>
                    <a:pt x="711927" y="277597"/>
                    <a:pt x="699467" y="264236"/>
                  </a:cubicBezTo>
                  <a:cubicBezTo>
                    <a:pt x="542622" y="96083"/>
                    <a:pt x="279231" y="86706"/>
                    <a:pt x="110824" y="243279"/>
                  </a:cubicBezTo>
                  <a:cubicBezTo>
                    <a:pt x="84182" y="268084"/>
                    <a:pt x="42476" y="266594"/>
                    <a:pt x="17671" y="239951"/>
                  </a:cubicBezTo>
                  <a:cubicBezTo>
                    <a:pt x="-7134" y="213309"/>
                    <a:pt x="-5644" y="171602"/>
                    <a:pt x="20999" y="146798"/>
                  </a:cubicBezTo>
                  <a:cubicBezTo>
                    <a:pt x="242716" y="-59220"/>
                    <a:pt x="589355" y="-46897"/>
                    <a:pt x="795883" y="174345"/>
                  </a:cubicBezTo>
                  <a:cubicBezTo>
                    <a:pt x="820706" y="200964"/>
                    <a:pt x="819250" y="242666"/>
                    <a:pt x="792631" y="267489"/>
                  </a:cubicBezTo>
                  <a:cubicBezTo>
                    <a:pt x="780419" y="278876"/>
                    <a:pt x="764340" y="285204"/>
                    <a:pt x="747642" y="285193"/>
                  </a:cubicBezTo>
                  <a:close/>
                </a:path>
              </a:pathLst>
            </a:custGeom>
            <a:grpFill/>
            <a:ln w="3175" cap="flat">
              <a:solidFill>
                <a:srgbClr val="206595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342905"/>
              <a:endParaRPr lang="ru-RU">
                <a:solidFill>
                  <a:srgbClr val="206595"/>
                </a:solidFill>
                <a:latin typeface="Calibri" panose="020F0502020204030204"/>
              </a:endParaRPr>
            </a:p>
          </p:txBody>
        </p:sp>
        <p:sp>
          <p:nvSpPr>
            <p:cNvPr id="116" name="Freeform: Shape 115">
              <a:extLst>
                <a:ext uri="{FF2B5EF4-FFF2-40B4-BE49-F238E27FC236}">
                  <a16:creationId xmlns:a16="http://schemas.microsoft.com/office/drawing/2014/main" id="{DFAE909E-28A7-42F5-834E-6440ABC0916B}"/>
                </a:ext>
              </a:extLst>
            </p:cNvPr>
            <p:cNvSpPr/>
            <p:nvPr/>
          </p:nvSpPr>
          <p:spPr>
            <a:xfrm>
              <a:off x="6653984" y="2256561"/>
              <a:ext cx="131805" cy="362464"/>
            </a:xfrm>
            <a:custGeom>
              <a:avLst/>
              <a:gdLst>
                <a:gd name="connsiteX0" fmla="*/ 65903 w 131805"/>
                <a:gd name="connsiteY0" fmla="*/ 362465 h 362464"/>
                <a:gd name="connsiteX1" fmla="*/ 0 w 131805"/>
                <a:gd name="connsiteY1" fmla="*/ 296562 h 362464"/>
                <a:gd name="connsiteX2" fmla="*/ 0 w 131805"/>
                <a:gd name="connsiteY2" fmla="*/ 65903 h 362464"/>
                <a:gd name="connsiteX3" fmla="*/ 65903 w 131805"/>
                <a:gd name="connsiteY3" fmla="*/ 0 h 362464"/>
                <a:gd name="connsiteX4" fmla="*/ 131805 w 131805"/>
                <a:gd name="connsiteY4" fmla="*/ 65903 h 362464"/>
                <a:gd name="connsiteX5" fmla="*/ 131805 w 131805"/>
                <a:gd name="connsiteY5" fmla="*/ 296562 h 362464"/>
                <a:gd name="connsiteX6" fmla="*/ 65903 w 131805"/>
                <a:gd name="connsiteY6" fmla="*/ 362465 h 3624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31805" h="362464">
                  <a:moveTo>
                    <a:pt x="65903" y="362465"/>
                  </a:moveTo>
                  <a:cubicBezTo>
                    <a:pt x="29506" y="362465"/>
                    <a:pt x="0" y="332959"/>
                    <a:pt x="0" y="296562"/>
                  </a:cubicBezTo>
                  <a:lnTo>
                    <a:pt x="0" y="65903"/>
                  </a:lnTo>
                  <a:cubicBezTo>
                    <a:pt x="0" y="29506"/>
                    <a:pt x="29506" y="0"/>
                    <a:pt x="65903" y="0"/>
                  </a:cubicBezTo>
                  <a:cubicBezTo>
                    <a:pt x="102300" y="0"/>
                    <a:pt x="131805" y="29506"/>
                    <a:pt x="131805" y="65903"/>
                  </a:cubicBezTo>
                  <a:lnTo>
                    <a:pt x="131805" y="296562"/>
                  </a:lnTo>
                  <a:cubicBezTo>
                    <a:pt x="131805" y="332959"/>
                    <a:pt x="102300" y="362465"/>
                    <a:pt x="65903" y="362465"/>
                  </a:cubicBezTo>
                  <a:close/>
                </a:path>
              </a:pathLst>
            </a:custGeom>
            <a:grpFill/>
            <a:ln w="3175" cap="flat">
              <a:solidFill>
                <a:srgbClr val="206595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342905"/>
              <a:endParaRPr lang="ru-RU">
                <a:solidFill>
                  <a:srgbClr val="206595"/>
                </a:solidFill>
                <a:latin typeface="Calibri" panose="020F0502020204030204"/>
              </a:endParaRPr>
            </a:p>
          </p:txBody>
        </p:sp>
        <p:sp>
          <p:nvSpPr>
            <p:cNvPr id="117" name="Freeform: Shape 116">
              <a:extLst>
                <a:ext uri="{FF2B5EF4-FFF2-40B4-BE49-F238E27FC236}">
                  <a16:creationId xmlns:a16="http://schemas.microsoft.com/office/drawing/2014/main" id="{9E088976-41CE-4E43-BCC6-1113444B4E53}"/>
                </a:ext>
              </a:extLst>
            </p:cNvPr>
            <p:cNvSpPr/>
            <p:nvPr/>
          </p:nvSpPr>
          <p:spPr>
            <a:xfrm>
              <a:off x="6507460" y="1962833"/>
              <a:ext cx="425786" cy="425599"/>
            </a:xfrm>
            <a:custGeom>
              <a:avLst/>
              <a:gdLst>
                <a:gd name="connsiteX0" fmla="*/ 212888 w 425786"/>
                <a:gd name="connsiteY0" fmla="*/ 425600 h 425599"/>
                <a:gd name="connsiteX1" fmla="*/ 0 w 425786"/>
                <a:gd name="connsiteY1" fmla="*/ 213152 h 425599"/>
                <a:gd name="connsiteX2" fmla="*/ 62432 w 425786"/>
                <a:gd name="connsiteY2" fmla="*/ 62410 h 425599"/>
                <a:gd name="connsiteX3" fmla="*/ 363376 w 425786"/>
                <a:gd name="connsiteY3" fmla="*/ 62245 h 425599"/>
                <a:gd name="connsiteX4" fmla="*/ 363541 w 425786"/>
                <a:gd name="connsiteY4" fmla="*/ 363190 h 425599"/>
                <a:gd name="connsiteX5" fmla="*/ 212888 w 425786"/>
                <a:gd name="connsiteY5" fmla="*/ 425600 h 425599"/>
                <a:gd name="connsiteX6" fmla="*/ 155619 w 425786"/>
                <a:gd name="connsiteY6" fmla="*/ 155398 h 425599"/>
                <a:gd name="connsiteX7" fmla="*/ 155614 w 425786"/>
                <a:gd name="connsiteY7" fmla="*/ 269942 h 425599"/>
                <a:gd name="connsiteX8" fmla="*/ 270157 w 425786"/>
                <a:gd name="connsiteY8" fmla="*/ 269946 h 425599"/>
                <a:gd name="connsiteX9" fmla="*/ 270162 w 425786"/>
                <a:gd name="connsiteY9" fmla="*/ 155403 h 425599"/>
                <a:gd name="connsiteX10" fmla="*/ 270157 w 425786"/>
                <a:gd name="connsiteY10" fmla="*/ 155398 h 425599"/>
                <a:gd name="connsiteX11" fmla="*/ 155619 w 425786"/>
                <a:gd name="connsiteY11" fmla="*/ 155398 h 4255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425786" h="425599">
                  <a:moveTo>
                    <a:pt x="212888" y="425600"/>
                  </a:moveTo>
                  <a:cubicBezTo>
                    <a:pt x="95435" y="425721"/>
                    <a:pt x="122" y="330605"/>
                    <a:pt x="0" y="213152"/>
                  </a:cubicBezTo>
                  <a:cubicBezTo>
                    <a:pt x="-58" y="156602"/>
                    <a:pt x="22408" y="102358"/>
                    <a:pt x="62432" y="62410"/>
                  </a:cubicBezTo>
                  <a:cubicBezTo>
                    <a:pt x="145490" y="-20739"/>
                    <a:pt x="280227" y="-20813"/>
                    <a:pt x="363376" y="62245"/>
                  </a:cubicBezTo>
                  <a:cubicBezTo>
                    <a:pt x="446525" y="145304"/>
                    <a:pt x="446599" y="280041"/>
                    <a:pt x="363541" y="363190"/>
                  </a:cubicBezTo>
                  <a:cubicBezTo>
                    <a:pt x="323602" y="403172"/>
                    <a:pt x="269400" y="425626"/>
                    <a:pt x="212888" y="425600"/>
                  </a:cubicBezTo>
                  <a:close/>
                  <a:moveTo>
                    <a:pt x="155619" y="155398"/>
                  </a:moveTo>
                  <a:cubicBezTo>
                    <a:pt x="123987" y="187028"/>
                    <a:pt x="123985" y="238310"/>
                    <a:pt x="155614" y="269942"/>
                  </a:cubicBezTo>
                  <a:cubicBezTo>
                    <a:pt x="187243" y="301573"/>
                    <a:pt x="238526" y="301575"/>
                    <a:pt x="270157" y="269946"/>
                  </a:cubicBezTo>
                  <a:cubicBezTo>
                    <a:pt x="301789" y="238317"/>
                    <a:pt x="301791" y="187035"/>
                    <a:pt x="270162" y="155403"/>
                  </a:cubicBezTo>
                  <a:cubicBezTo>
                    <a:pt x="270160" y="155402"/>
                    <a:pt x="270159" y="155400"/>
                    <a:pt x="270157" y="155398"/>
                  </a:cubicBezTo>
                  <a:cubicBezTo>
                    <a:pt x="238497" y="123844"/>
                    <a:pt x="187278" y="123844"/>
                    <a:pt x="155619" y="155398"/>
                  </a:cubicBezTo>
                  <a:close/>
                </a:path>
              </a:pathLst>
            </a:custGeom>
            <a:grpFill/>
            <a:ln w="3175" cap="flat">
              <a:solidFill>
                <a:srgbClr val="206595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342905"/>
              <a:endParaRPr lang="ru-RU">
                <a:solidFill>
                  <a:srgbClr val="206595"/>
                </a:solidFill>
                <a:latin typeface="Calibri" panose="020F0502020204030204"/>
              </a:endParaRPr>
            </a:p>
          </p:txBody>
        </p:sp>
        <p:sp>
          <p:nvSpPr>
            <p:cNvPr id="118" name="Freeform: Shape 117">
              <a:extLst>
                <a:ext uri="{FF2B5EF4-FFF2-40B4-BE49-F238E27FC236}">
                  <a16:creationId xmlns:a16="http://schemas.microsoft.com/office/drawing/2014/main" id="{493166A8-54E9-4BA6-98CB-74610FFB7A08}"/>
                </a:ext>
              </a:extLst>
            </p:cNvPr>
            <p:cNvSpPr/>
            <p:nvPr/>
          </p:nvSpPr>
          <p:spPr>
            <a:xfrm>
              <a:off x="5309010" y="2769680"/>
              <a:ext cx="2821900" cy="1154022"/>
            </a:xfrm>
            <a:custGeom>
              <a:avLst/>
              <a:gdLst>
                <a:gd name="connsiteX0" fmla="*/ 2755819 w 2821900"/>
                <a:gd name="connsiteY0" fmla="*/ 1154022 h 1154022"/>
                <a:gd name="connsiteX1" fmla="*/ 65934 w 2821900"/>
                <a:gd name="connsiteY1" fmla="*/ 1154022 h 1154022"/>
                <a:gd name="connsiteX2" fmla="*/ 0 w 2821900"/>
                <a:gd name="connsiteY2" fmla="*/ 1088151 h 1154022"/>
                <a:gd name="connsiteX3" fmla="*/ 1943 w 2821900"/>
                <a:gd name="connsiteY3" fmla="*/ 1072237 h 1154022"/>
                <a:gd name="connsiteX4" fmla="*/ 251911 w 2821900"/>
                <a:gd name="connsiteY4" fmla="*/ 64387 h 1154022"/>
                <a:gd name="connsiteX5" fmla="*/ 336201 w 2821900"/>
                <a:gd name="connsiteY5" fmla="*/ 0 h 1154022"/>
                <a:gd name="connsiteX6" fmla="*/ 2485552 w 2821900"/>
                <a:gd name="connsiteY6" fmla="*/ 0 h 1154022"/>
                <a:gd name="connsiteX7" fmla="*/ 2569512 w 2821900"/>
                <a:gd name="connsiteY7" fmla="*/ 62937 h 1154022"/>
                <a:gd name="connsiteX8" fmla="*/ 2819942 w 2821900"/>
                <a:gd name="connsiteY8" fmla="*/ 1072237 h 1154022"/>
                <a:gd name="connsiteX9" fmla="*/ 2771865 w 2821900"/>
                <a:gd name="connsiteY9" fmla="*/ 1152080 h 1154022"/>
                <a:gd name="connsiteX10" fmla="*/ 2755951 w 2821900"/>
                <a:gd name="connsiteY10" fmla="*/ 1154022 h 1154022"/>
                <a:gd name="connsiteX11" fmla="*/ 150158 w 2821900"/>
                <a:gd name="connsiteY11" fmla="*/ 1022217 h 1154022"/>
                <a:gd name="connsiteX12" fmla="*/ 2671595 w 2821900"/>
                <a:gd name="connsiteY12" fmla="*/ 1022217 h 1154022"/>
                <a:gd name="connsiteX13" fmla="*/ 2450821 w 2821900"/>
                <a:gd name="connsiteY13" fmla="*/ 131805 h 1154022"/>
                <a:gd name="connsiteX14" fmla="*/ 370998 w 2821900"/>
                <a:gd name="connsiteY14" fmla="*/ 131805 h 1154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821900" h="1154022">
                  <a:moveTo>
                    <a:pt x="2755819" y="1154022"/>
                  </a:moveTo>
                  <a:lnTo>
                    <a:pt x="65934" y="1154022"/>
                  </a:lnTo>
                  <a:cubicBezTo>
                    <a:pt x="29537" y="1154039"/>
                    <a:pt x="17" y="1124548"/>
                    <a:pt x="0" y="1088151"/>
                  </a:cubicBezTo>
                  <a:cubicBezTo>
                    <a:pt x="-3" y="1082787"/>
                    <a:pt x="650" y="1077443"/>
                    <a:pt x="1943" y="1072237"/>
                  </a:cubicBezTo>
                  <a:lnTo>
                    <a:pt x="251911" y="64387"/>
                  </a:lnTo>
                  <a:cubicBezTo>
                    <a:pt x="262419" y="26471"/>
                    <a:pt x="296856" y="165"/>
                    <a:pt x="336201" y="0"/>
                  </a:cubicBezTo>
                  <a:lnTo>
                    <a:pt x="2485552" y="0"/>
                  </a:lnTo>
                  <a:cubicBezTo>
                    <a:pt x="2524341" y="211"/>
                    <a:pt x="2558430" y="25764"/>
                    <a:pt x="2569512" y="62937"/>
                  </a:cubicBezTo>
                  <a:lnTo>
                    <a:pt x="2819942" y="1072237"/>
                  </a:lnTo>
                  <a:cubicBezTo>
                    <a:pt x="2828714" y="1107561"/>
                    <a:pt x="2807189" y="1143308"/>
                    <a:pt x="2771865" y="1152080"/>
                  </a:cubicBezTo>
                  <a:cubicBezTo>
                    <a:pt x="2766659" y="1153373"/>
                    <a:pt x="2761315" y="1154025"/>
                    <a:pt x="2755951" y="1154022"/>
                  </a:cubicBezTo>
                  <a:close/>
                  <a:moveTo>
                    <a:pt x="150158" y="1022217"/>
                  </a:moveTo>
                  <a:lnTo>
                    <a:pt x="2671595" y="1022217"/>
                  </a:lnTo>
                  <a:lnTo>
                    <a:pt x="2450821" y="131805"/>
                  </a:lnTo>
                  <a:lnTo>
                    <a:pt x="370998" y="131805"/>
                  </a:lnTo>
                  <a:close/>
                </a:path>
              </a:pathLst>
            </a:custGeom>
            <a:grpFill/>
            <a:ln w="3175" cap="flat">
              <a:solidFill>
                <a:srgbClr val="206595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342905"/>
              <a:endParaRPr lang="ru-RU">
                <a:solidFill>
                  <a:srgbClr val="206595"/>
                </a:solidFill>
                <a:latin typeface="Calibri" panose="020F0502020204030204"/>
              </a:endParaRPr>
            </a:p>
          </p:txBody>
        </p:sp>
        <p:sp>
          <p:nvSpPr>
            <p:cNvPr id="119" name="Freeform: Shape 118">
              <a:extLst>
                <a:ext uri="{FF2B5EF4-FFF2-40B4-BE49-F238E27FC236}">
                  <a16:creationId xmlns:a16="http://schemas.microsoft.com/office/drawing/2014/main" id="{3DFF23F6-13A7-4DE5-AFCC-17189E68D5F7}"/>
                </a:ext>
              </a:extLst>
            </p:cNvPr>
            <p:cNvSpPr/>
            <p:nvPr/>
          </p:nvSpPr>
          <p:spPr>
            <a:xfrm>
              <a:off x="4959658" y="2506069"/>
              <a:ext cx="3520472" cy="1681243"/>
            </a:xfrm>
            <a:custGeom>
              <a:avLst/>
              <a:gdLst>
                <a:gd name="connsiteX0" fmla="*/ 3454521 w 3520472"/>
                <a:gd name="connsiteY0" fmla="*/ 1681244 h 1681243"/>
                <a:gd name="connsiteX1" fmla="*/ 65935 w 3520472"/>
                <a:gd name="connsiteY1" fmla="*/ 1681244 h 1681243"/>
                <a:gd name="connsiteX2" fmla="*/ 0 w 3520472"/>
                <a:gd name="connsiteY2" fmla="*/ 1615374 h 1681243"/>
                <a:gd name="connsiteX3" fmla="*/ 2076 w 3520472"/>
                <a:gd name="connsiteY3" fmla="*/ 1598931 h 1681243"/>
                <a:gd name="connsiteX4" fmla="*/ 347867 w 3520472"/>
                <a:gd name="connsiteY4" fmla="*/ 255109 h 1681243"/>
                <a:gd name="connsiteX5" fmla="*/ 685553 w 3520472"/>
                <a:gd name="connsiteY5" fmla="*/ 0 h 1681243"/>
                <a:gd name="connsiteX6" fmla="*/ 2834903 w 3520472"/>
                <a:gd name="connsiteY6" fmla="*/ 0 h 1681243"/>
                <a:gd name="connsiteX7" fmla="*/ 3171996 w 3520472"/>
                <a:gd name="connsiteY7" fmla="*/ 253132 h 1681243"/>
                <a:gd name="connsiteX8" fmla="*/ 3518381 w 3520472"/>
                <a:gd name="connsiteY8" fmla="*/ 1598931 h 1681243"/>
                <a:gd name="connsiteX9" fmla="*/ 3470963 w 3520472"/>
                <a:gd name="connsiteY9" fmla="*/ 1679168 h 1681243"/>
                <a:gd name="connsiteX10" fmla="*/ 3454521 w 3520472"/>
                <a:gd name="connsiteY10" fmla="*/ 1681244 h 1681243"/>
                <a:gd name="connsiteX11" fmla="*/ 150950 w 3520472"/>
                <a:gd name="connsiteY11" fmla="*/ 1549438 h 1681243"/>
                <a:gd name="connsiteX12" fmla="*/ 3369506 w 3520472"/>
                <a:gd name="connsiteY12" fmla="*/ 1549438 h 1681243"/>
                <a:gd name="connsiteX13" fmla="*/ 3044870 w 3520472"/>
                <a:gd name="connsiteY13" fmla="*/ 287929 h 1681243"/>
                <a:gd name="connsiteX14" fmla="*/ 2834903 w 3520472"/>
                <a:gd name="connsiteY14" fmla="*/ 131806 h 1681243"/>
                <a:gd name="connsiteX15" fmla="*/ 685553 w 3520472"/>
                <a:gd name="connsiteY15" fmla="*/ 131806 h 1681243"/>
                <a:gd name="connsiteX16" fmla="*/ 474994 w 3520472"/>
                <a:gd name="connsiteY16" fmla="*/ 289972 h 16812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520472" h="1681243">
                  <a:moveTo>
                    <a:pt x="3454521" y="1681244"/>
                  </a:moveTo>
                  <a:lnTo>
                    <a:pt x="65935" y="1681244"/>
                  </a:lnTo>
                  <a:cubicBezTo>
                    <a:pt x="29538" y="1681262"/>
                    <a:pt x="18" y="1651771"/>
                    <a:pt x="0" y="1615374"/>
                  </a:cubicBezTo>
                  <a:cubicBezTo>
                    <a:pt x="-3" y="1609828"/>
                    <a:pt x="695" y="1604303"/>
                    <a:pt x="2076" y="1598931"/>
                  </a:cubicBezTo>
                  <a:lnTo>
                    <a:pt x="347867" y="255109"/>
                  </a:lnTo>
                  <a:cubicBezTo>
                    <a:pt x="391449" y="104630"/>
                    <a:pt x="528892" y="798"/>
                    <a:pt x="685553" y="0"/>
                  </a:cubicBezTo>
                  <a:lnTo>
                    <a:pt x="2834903" y="0"/>
                  </a:lnTo>
                  <a:cubicBezTo>
                    <a:pt x="2990870" y="584"/>
                    <a:pt x="3127943" y="103516"/>
                    <a:pt x="3171996" y="253132"/>
                  </a:cubicBezTo>
                  <a:lnTo>
                    <a:pt x="3518381" y="1598931"/>
                  </a:lnTo>
                  <a:cubicBezTo>
                    <a:pt x="3527443" y="1634182"/>
                    <a:pt x="3506214" y="1670105"/>
                    <a:pt x="3470963" y="1679168"/>
                  </a:cubicBezTo>
                  <a:cubicBezTo>
                    <a:pt x="3465592" y="1680549"/>
                    <a:pt x="3460067" y="1681247"/>
                    <a:pt x="3454521" y="1681244"/>
                  </a:cubicBezTo>
                  <a:close/>
                  <a:moveTo>
                    <a:pt x="150950" y="1549438"/>
                  </a:moveTo>
                  <a:lnTo>
                    <a:pt x="3369506" y="1549438"/>
                  </a:lnTo>
                  <a:lnTo>
                    <a:pt x="3044870" y="287929"/>
                  </a:lnTo>
                  <a:cubicBezTo>
                    <a:pt x="3016837" y="195372"/>
                    <a:pt x="2931613" y="132002"/>
                    <a:pt x="2834903" y="131806"/>
                  </a:cubicBezTo>
                  <a:lnTo>
                    <a:pt x="685553" y="131806"/>
                  </a:lnTo>
                  <a:cubicBezTo>
                    <a:pt x="588134" y="132228"/>
                    <a:pt x="502536" y="196526"/>
                    <a:pt x="474994" y="289972"/>
                  </a:cubicBezTo>
                  <a:close/>
                </a:path>
              </a:pathLst>
            </a:custGeom>
            <a:grpFill/>
            <a:ln w="3175" cap="flat">
              <a:solidFill>
                <a:srgbClr val="206595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342905"/>
              <a:endParaRPr lang="ru-RU">
                <a:solidFill>
                  <a:srgbClr val="206595"/>
                </a:solidFill>
                <a:latin typeface="Calibri" panose="020F0502020204030204"/>
              </a:endParaRPr>
            </a:p>
          </p:txBody>
        </p:sp>
        <p:sp>
          <p:nvSpPr>
            <p:cNvPr id="120" name="Freeform: Shape 119">
              <a:extLst>
                <a:ext uri="{FF2B5EF4-FFF2-40B4-BE49-F238E27FC236}">
                  <a16:creationId xmlns:a16="http://schemas.microsoft.com/office/drawing/2014/main" id="{0579C1AC-1A58-4C43-80D7-D0D97F98F824}"/>
                </a:ext>
              </a:extLst>
            </p:cNvPr>
            <p:cNvSpPr/>
            <p:nvPr/>
          </p:nvSpPr>
          <p:spPr>
            <a:xfrm>
              <a:off x="5929872" y="4854576"/>
              <a:ext cx="1580045" cy="781344"/>
            </a:xfrm>
            <a:custGeom>
              <a:avLst/>
              <a:gdLst>
                <a:gd name="connsiteX0" fmla="*/ 1514153 w 1580045"/>
                <a:gd name="connsiteY0" fmla="*/ 781345 h 781344"/>
                <a:gd name="connsiteX1" fmla="*/ 65875 w 1580045"/>
                <a:gd name="connsiteY1" fmla="*/ 781345 h 781344"/>
                <a:gd name="connsiteX2" fmla="*/ 0 w 1580045"/>
                <a:gd name="connsiteY2" fmla="*/ 715414 h 781344"/>
                <a:gd name="connsiteX3" fmla="*/ 2872 w 1580045"/>
                <a:gd name="connsiteY3" fmla="*/ 696198 h 781344"/>
                <a:gd name="connsiteX4" fmla="*/ 166706 w 1580045"/>
                <a:gd name="connsiteY4" fmla="*/ 159816 h 781344"/>
                <a:gd name="connsiteX5" fmla="*/ 382604 w 1580045"/>
                <a:gd name="connsiteY5" fmla="*/ 2 h 781344"/>
                <a:gd name="connsiteX6" fmla="*/ 1197425 w 1580045"/>
                <a:gd name="connsiteY6" fmla="*/ 2 h 781344"/>
                <a:gd name="connsiteX7" fmla="*/ 1413322 w 1580045"/>
                <a:gd name="connsiteY7" fmla="*/ 159816 h 781344"/>
                <a:gd name="connsiteX8" fmla="*/ 1577156 w 1580045"/>
                <a:gd name="connsiteY8" fmla="*/ 696198 h 781344"/>
                <a:gd name="connsiteX9" fmla="*/ 1533369 w 1580045"/>
                <a:gd name="connsiteY9" fmla="*/ 778473 h 781344"/>
                <a:gd name="connsiteX10" fmla="*/ 1514153 w 1580045"/>
                <a:gd name="connsiteY10" fmla="*/ 781345 h 781344"/>
                <a:gd name="connsiteX11" fmla="*/ 154910 w 1580045"/>
                <a:gd name="connsiteY11" fmla="*/ 649539 h 781344"/>
                <a:gd name="connsiteX12" fmla="*/ 1425119 w 1580045"/>
                <a:gd name="connsiteY12" fmla="*/ 649539 h 781344"/>
                <a:gd name="connsiteX13" fmla="*/ 1287316 w 1580045"/>
                <a:gd name="connsiteY13" fmla="*/ 198303 h 781344"/>
                <a:gd name="connsiteX14" fmla="*/ 1197425 w 1580045"/>
                <a:gd name="connsiteY14" fmla="*/ 131808 h 781344"/>
                <a:gd name="connsiteX15" fmla="*/ 382604 w 1580045"/>
                <a:gd name="connsiteY15" fmla="*/ 131807 h 781344"/>
                <a:gd name="connsiteX16" fmla="*/ 292712 w 1580045"/>
                <a:gd name="connsiteY16" fmla="*/ 198303 h 7813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580045" h="781344">
                  <a:moveTo>
                    <a:pt x="1514153" y="781345"/>
                  </a:moveTo>
                  <a:lnTo>
                    <a:pt x="65875" y="781345"/>
                  </a:lnTo>
                  <a:cubicBezTo>
                    <a:pt x="29478" y="781330"/>
                    <a:pt x="-15" y="751811"/>
                    <a:pt x="0" y="715414"/>
                  </a:cubicBezTo>
                  <a:cubicBezTo>
                    <a:pt x="3" y="708902"/>
                    <a:pt x="971" y="702427"/>
                    <a:pt x="2872" y="696198"/>
                  </a:cubicBezTo>
                  <a:lnTo>
                    <a:pt x="166706" y="159816"/>
                  </a:lnTo>
                  <a:cubicBezTo>
                    <a:pt x="195359" y="64625"/>
                    <a:pt x="283195" y="-394"/>
                    <a:pt x="382604" y="2"/>
                  </a:cubicBezTo>
                  <a:lnTo>
                    <a:pt x="1197425" y="2"/>
                  </a:lnTo>
                  <a:cubicBezTo>
                    <a:pt x="1296841" y="-416"/>
                    <a:pt x="1384689" y="64612"/>
                    <a:pt x="1413322" y="159816"/>
                  </a:cubicBezTo>
                  <a:lnTo>
                    <a:pt x="1577156" y="696198"/>
                  </a:lnTo>
                  <a:cubicBezTo>
                    <a:pt x="1587784" y="731009"/>
                    <a:pt x="1568180" y="767845"/>
                    <a:pt x="1533369" y="778473"/>
                  </a:cubicBezTo>
                  <a:cubicBezTo>
                    <a:pt x="1527141" y="780374"/>
                    <a:pt x="1520665" y="781342"/>
                    <a:pt x="1514153" y="781345"/>
                  </a:cubicBezTo>
                  <a:close/>
                  <a:moveTo>
                    <a:pt x="154910" y="649539"/>
                  </a:moveTo>
                  <a:lnTo>
                    <a:pt x="1425119" y="649539"/>
                  </a:lnTo>
                  <a:lnTo>
                    <a:pt x="1287316" y="198303"/>
                  </a:lnTo>
                  <a:cubicBezTo>
                    <a:pt x="1275362" y="158693"/>
                    <a:pt x="1238799" y="131647"/>
                    <a:pt x="1197425" y="131808"/>
                  </a:cubicBezTo>
                  <a:lnTo>
                    <a:pt x="382604" y="131807"/>
                  </a:lnTo>
                  <a:cubicBezTo>
                    <a:pt x="341229" y="131647"/>
                    <a:pt x="304667" y="158693"/>
                    <a:pt x="292712" y="198303"/>
                  </a:cubicBezTo>
                  <a:close/>
                </a:path>
              </a:pathLst>
            </a:custGeom>
            <a:grpFill/>
            <a:ln w="3175" cap="flat">
              <a:solidFill>
                <a:srgbClr val="206595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342905"/>
              <a:endParaRPr lang="ru-RU">
                <a:solidFill>
                  <a:srgbClr val="206595"/>
                </a:solidFill>
                <a:latin typeface="Calibri" panose="020F0502020204030204"/>
              </a:endParaRPr>
            </a:p>
          </p:txBody>
        </p:sp>
        <p:sp>
          <p:nvSpPr>
            <p:cNvPr id="121" name="Freeform: Shape 120">
              <a:extLst>
                <a:ext uri="{FF2B5EF4-FFF2-40B4-BE49-F238E27FC236}">
                  <a16:creationId xmlns:a16="http://schemas.microsoft.com/office/drawing/2014/main" id="{9F9FB14D-9A61-4634-AB0D-1D8CDEBC8BD6}"/>
                </a:ext>
              </a:extLst>
            </p:cNvPr>
            <p:cNvSpPr/>
            <p:nvPr/>
          </p:nvSpPr>
          <p:spPr>
            <a:xfrm>
              <a:off x="6260149" y="5287558"/>
              <a:ext cx="919474" cy="131805"/>
            </a:xfrm>
            <a:custGeom>
              <a:avLst/>
              <a:gdLst>
                <a:gd name="connsiteX0" fmla="*/ 853572 w 919474"/>
                <a:gd name="connsiteY0" fmla="*/ 131805 h 131805"/>
                <a:gd name="connsiteX1" fmla="*/ 65903 w 919474"/>
                <a:gd name="connsiteY1" fmla="*/ 131805 h 131805"/>
                <a:gd name="connsiteX2" fmla="*/ 0 w 919474"/>
                <a:gd name="connsiteY2" fmla="*/ 65903 h 131805"/>
                <a:gd name="connsiteX3" fmla="*/ 65903 w 919474"/>
                <a:gd name="connsiteY3" fmla="*/ 0 h 131805"/>
                <a:gd name="connsiteX4" fmla="*/ 853572 w 919474"/>
                <a:gd name="connsiteY4" fmla="*/ 0 h 131805"/>
                <a:gd name="connsiteX5" fmla="*/ 919475 w 919474"/>
                <a:gd name="connsiteY5" fmla="*/ 65903 h 131805"/>
                <a:gd name="connsiteX6" fmla="*/ 853572 w 919474"/>
                <a:gd name="connsiteY6" fmla="*/ 131805 h 1318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919474" h="131805">
                  <a:moveTo>
                    <a:pt x="853572" y="131805"/>
                  </a:moveTo>
                  <a:lnTo>
                    <a:pt x="65903" y="131805"/>
                  </a:lnTo>
                  <a:cubicBezTo>
                    <a:pt x="29506" y="131805"/>
                    <a:pt x="0" y="102300"/>
                    <a:pt x="0" y="65903"/>
                  </a:cubicBezTo>
                  <a:cubicBezTo>
                    <a:pt x="0" y="29506"/>
                    <a:pt x="29506" y="0"/>
                    <a:pt x="65903" y="0"/>
                  </a:cubicBezTo>
                  <a:lnTo>
                    <a:pt x="853572" y="0"/>
                  </a:lnTo>
                  <a:cubicBezTo>
                    <a:pt x="889969" y="0"/>
                    <a:pt x="919475" y="29506"/>
                    <a:pt x="919475" y="65903"/>
                  </a:cubicBezTo>
                  <a:cubicBezTo>
                    <a:pt x="919475" y="102300"/>
                    <a:pt x="889969" y="131805"/>
                    <a:pt x="853572" y="131805"/>
                  </a:cubicBezTo>
                  <a:close/>
                </a:path>
              </a:pathLst>
            </a:custGeom>
            <a:grpFill/>
            <a:ln w="3175" cap="flat">
              <a:solidFill>
                <a:srgbClr val="206595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342905"/>
              <a:endParaRPr lang="ru-RU">
                <a:solidFill>
                  <a:srgbClr val="206595"/>
                </a:solidFill>
                <a:latin typeface="Calibri" panose="020F0502020204030204"/>
              </a:endParaRPr>
            </a:p>
          </p:txBody>
        </p:sp>
        <p:sp>
          <p:nvSpPr>
            <p:cNvPr id="122" name="Freeform: Shape 121">
              <a:extLst>
                <a:ext uri="{FF2B5EF4-FFF2-40B4-BE49-F238E27FC236}">
                  <a16:creationId xmlns:a16="http://schemas.microsoft.com/office/drawing/2014/main" id="{9A19BA1F-6187-4555-A45C-AB64737819F3}"/>
                </a:ext>
              </a:extLst>
            </p:cNvPr>
            <p:cNvSpPr/>
            <p:nvPr/>
          </p:nvSpPr>
          <p:spPr>
            <a:xfrm>
              <a:off x="7678507" y="4468718"/>
              <a:ext cx="728488" cy="728487"/>
            </a:xfrm>
            <a:custGeom>
              <a:avLst/>
              <a:gdLst>
                <a:gd name="connsiteX0" fmla="*/ 363519 w 728488"/>
                <a:gd name="connsiteY0" fmla="*/ 728488 h 728487"/>
                <a:gd name="connsiteX1" fmla="*/ 1 w 728488"/>
                <a:gd name="connsiteY1" fmla="*/ 363519 h 728487"/>
                <a:gd name="connsiteX2" fmla="*/ 364969 w 728488"/>
                <a:gd name="connsiteY2" fmla="*/ 1 h 728487"/>
                <a:gd name="connsiteX3" fmla="*/ 728489 w 728488"/>
                <a:gd name="connsiteY3" fmla="*/ 364244 h 728487"/>
                <a:gd name="connsiteX4" fmla="*/ 363519 w 728488"/>
                <a:gd name="connsiteY4" fmla="*/ 728488 h 728487"/>
                <a:gd name="connsiteX5" fmla="*/ 363519 w 728488"/>
                <a:gd name="connsiteY5" fmla="*/ 131871 h 728487"/>
                <a:gd name="connsiteX6" fmla="*/ 131806 w 728488"/>
                <a:gd name="connsiteY6" fmla="*/ 365033 h 728487"/>
                <a:gd name="connsiteX7" fmla="*/ 364969 w 728488"/>
                <a:gd name="connsiteY7" fmla="*/ 596746 h 728487"/>
                <a:gd name="connsiteX8" fmla="*/ 596683 w 728488"/>
                <a:gd name="connsiteY8" fmla="*/ 364244 h 728487"/>
                <a:gd name="connsiteX9" fmla="*/ 363652 w 728488"/>
                <a:gd name="connsiteY9" fmla="*/ 131870 h 728487"/>
                <a:gd name="connsiteX10" fmla="*/ 363519 w 728488"/>
                <a:gd name="connsiteY10" fmla="*/ 131871 h 7284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28488" h="728487">
                  <a:moveTo>
                    <a:pt x="363519" y="728488"/>
                  </a:moveTo>
                  <a:cubicBezTo>
                    <a:pt x="162353" y="728087"/>
                    <a:pt x="-400" y="564686"/>
                    <a:pt x="1" y="363519"/>
                  </a:cubicBezTo>
                  <a:cubicBezTo>
                    <a:pt x="401" y="162353"/>
                    <a:pt x="163803" y="-400"/>
                    <a:pt x="364969" y="1"/>
                  </a:cubicBezTo>
                  <a:cubicBezTo>
                    <a:pt x="565852" y="400"/>
                    <a:pt x="728488" y="163360"/>
                    <a:pt x="728489" y="364244"/>
                  </a:cubicBezTo>
                  <a:cubicBezTo>
                    <a:pt x="728270" y="565603"/>
                    <a:pt x="564879" y="728670"/>
                    <a:pt x="363519" y="728488"/>
                  </a:cubicBezTo>
                  <a:close/>
                  <a:moveTo>
                    <a:pt x="363519" y="131871"/>
                  </a:moveTo>
                  <a:cubicBezTo>
                    <a:pt x="235147" y="132271"/>
                    <a:pt x="131406" y="236661"/>
                    <a:pt x="131806" y="365033"/>
                  </a:cubicBezTo>
                  <a:cubicBezTo>
                    <a:pt x="132207" y="493405"/>
                    <a:pt x="236597" y="597146"/>
                    <a:pt x="364969" y="596746"/>
                  </a:cubicBezTo>
                  <a:cubicBezTo>
                    <a:pt x="493083" y="596347"/>
                    <a:pt x="596719" y="492358"/>
                    <a:pt x="596683" y="364244"/>
                  </a:cubicBezTo>
                  <a:cubicBezTo>
                    <a:pt x="596501" y="235726"/>
                    <a:pt x="492170" y="131688"/>
                    <a:pt x="363652" y="131870"/>
                  </a:cubicBezTo>
                  <a:cubicBezTo>
                    <a:pt x="363607" y="131870"/>
                    <a:pt x="363563" y="131871"/>
                    <a:pt x="363519" y="131871"/>
                  </a:cubicBezTo>
                  <a:close/>
                </a:path>
              </a:pathLst>
            </a:custGeom>
            <a:grpFill/>
            <a:ln w="3175" cap="flat">
              <a:solidFill>
                <a:srgbClr val="206595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342905"/>
              <a:endParaRPr lang="ru-RU">
                <a:solidFill>
                  <a:srgbClr val="206595"/>
                </a:solidFill>
                <a:latin typeface="Calibri" panose="020F0502020204030204"/>
              </a:endParaRPr>
            </a:p>
          </p:txBody>
        </p:sp>
        <p:sp>
          <p:nvSpPr>
            <p:cNvPr id="123" name="Freeform: Shape 122">
              <a:extLst>
                <a:ext uri="{FF2B5EF4-FFF2-40B4-BE49-F238E27FC236}">
                  <a16:creationId xmlns:a16="http://schemas.microsoft.com/office/drawing/2014/main" id="{2F1823A7-B8F1-4F74-AC95-A55781192682}"/>
                </a:ext>
              </a:extLst>
            </p:cNvPr>
            <p:cNvSpPr/>
            <p:nvPr/>
          </p:nvSpPr>
          <p:spPr>
            <a:xfrm>
              <a:off x="5033502" y="4468719"/>
              <a:ext cx="728488" cy="728487"/>
            </a:xfrm>
            <a:custGeom>
              <a:avLst/>
              <a:gdLst>
                <a:gd name="connsiteX0" fmla="*/ 363322 w 728488"/>
                <a:gd name="connsiteY0" fmla="*/ 728487 h 728487"/>
                <a:gd name="connsiteX1" fmla="*/ 1 w 728488"/>
                <a:gd name="connsiteY1" fmla="*/ 363322 h 728487"/>
                <a:gd name="connsiteX2" fmla="*/ 365167 w 728488"/>
                <a:gd name="connsiteY2" fmla="*/ 1 h 728487"/>
                <a:gd name="connsiteX3" fmla="*/ 728489 w 728488"/>
                <a:gd name="connsiteY3" fmla="*/ 364243 h 728487"/>
                <a:gd name="connsiteX4" fmla="*/ 363454 w 728488"/>
                <a:gd name="connsiteY4" fmla="*/ 728488 h 728487"/>
                <a:gd name="connsiteX5" fmla="*/ 363322 w 728488"/>
                <a:gd name="connsiteY5" fmla="*/ 728487 h 728487"/>
                <a:gd name="connsiteX6" fmla="*/ 363322 w 728488"/>
                <a:gd name="connsiteY6" fmla="*/ 131870 h 728487"/>
                <a:gd name="connsiteX7" fmla="*/ 131807 w 728488"/>
                <a:gd name="connsiteY7" fmla="*/ 365230 h 728487"/>
                <a:gd name="connsiteX8" fmla="*/ 365167 w 728488"/>
                <a:gd name="connsiteY8" fmla="*/ 596744 h 728487"/>
                <a:gd name="connsiteX9" fmla="*/ 596683 w 728488"/>
                <a:gd name="connsiteY9" fmla="*/ 364243 h 728487"/>
                <a:gd name="connsiteX10" fmla="*/ 363652 w 728488"/>
                <a:gd name="connsiteY10" fmla="*/ 131869 h 728487"/>
                <a:gd name="connsiteX11" fmla="*/ 363322 w 728488"/>
                <a:gd name="connsiteY11" fmla="*/ 131870 h 7284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728488" h="728487">
                  <a:moveTo>
                    <a:pt x="363322" y="728487"/>
                  </a:moveTo>
                  <a:cubicBezTo>
                    <a:pt x="162156" y="727978"/>
                    <a:pt x="-508" y="564487"/>
                    <a:pt x="1" y="363322"/>
                  </a:cubicBezTo>
                  <a:cubicBezTo>
                    <a:pt x="511" y="162156"/>
                    <a:pt x="164001" y="-508"/>
                    <a:pt x="365167" y="1"/>
                  </a:cubicBezTo>
                  <a:cubicBezTo>
                    <a:pt x="565972" y="510"/>
                    <a:pt x="728488" y="163437"/>
                    <a:pt x="728489" y="364243"/>
                  </a:cubicBezTo>
                  <a:cubicBezTo>
                    <a:pt x="728270" y="565628"/>
                    <a:pt x="564839" y="728706"/>
                    <a:pt x="363454" y="728488"/>
                  </a:cubicBezTo>
                  <a:cubicBezTo>
                    <a:pt x="363410" y="728488"/>
                    <a:pt x="363366" y="728488"/>
                    <a:pt x="363322" y="728487"/>
                  </a:cubicBezTo>
                  <a:close/>
                  <a:moveTo>
                    <a:pt x="363322" y="131870"/>
                  </a:moveTo>
                  <a:cubicBezTo>
                    <a:pt x="234950" y="132380"/>
                    <a:pt x="131298" y="236858"/>
                    <a:pt x="131807" y="365230"/>
                  </a:cubicBezTo>
                  <a:cubicBezTo>
                    <a:pt x="132317" y="493601"/>
                    <a:pt x="236796" y="597254"/>
                    <a:pt x="365167" y="596744"/>
                  </a:cubicBezTo>
                  <a:cubicBezTo>
                    <a:pt x="493203" y="596236"/>
                    <a:pt x="596718" y="492280"/>
                    <a:pt x="596683" y="364243"/>
                  </a:cubicBezTo>
                  <a:cubicBezTo>
                    <a:pt x="596502" y="235725"/>
                    <a:pt x="492170" y="131688"/>
                    <a:pt x="363652" y="131869"/>
                  </a:cubicBezTo>
                  <a:cubicBezTo>
                    <a:pt x="363542" y="131870"/>
                    <a:pt x="363432" y="131870"/>
                    <a:pt x="363322" y="131870"/>
                  </a:cubicBezTo>
                  <a:close/>
                </a:path>
              </a:pathLst>
            </a:custGeom>
            <a:grpFill/>
            <a:ln w="3175" cap="flat">
              <a:solidFill>
                <a:srgbClr val="206595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342905"/>
              <a:endParaRPr lang="ru-RU">
                <a:solidFill>
                  <a:srgbClr val="206595"/>
                </a:solidFill>
                <a:latin typeface="Calibri" panose="020F0502020204030204"/>
              </a:endParaRPr>
            </a:p>
          </p:txBody>
        </p:sp>
        <p:sp>
          <p:nvSpPr>
            <p:cNvPr id="124" name="Freeform: Shape 123">
              <a:extLst>
                <a:ext uri="{FF2B5EF4-FFF2-40B4-BE49-F238E27FC236}">
                  <a16:creationId xmlns:a16="http://schemas.microsoft.com/office/drawing/2014/main" id="{E3721650-1B5F-4186-91AC-399EE650291A}"/>
                </a:ext>
              </a:extLst>
            </p:cNvPr>
            <p:cNvSpPr/>
            <p:nvPr/>
          </p:nvSpPr>
          <p:spPr>
            <a:xfrm>
              <a:off x="4629301" y="4055507"/>
              <a:ext cx="4181171" cy="1580412"/>
            </a:xfrm>
            <a:custGeom>
              <a:avLst/>
              <a:gdLst>
                <a:gd name="connsiteX0" fmla="*/ 3896781 w 4181171"/>
                <a:gd name="connsiteY0" fmla="*/ 1580413 h 1580412"/>
                <a:gd name="connsiteX1" fmla="*/ 284391 w 4181171"/>
                <a:gd name="connsiteY1" fmla="*/ 1580413 h 1580412"/>
                <a:gd name="connsiteX2" fmla="*/ 86 w 4181171"/>
                <a:gd name="connsiteY2" fmla="*/ 1296175 h 1580412"/>
                <a:gd name="connsiteX3" fmla="*/ 86 w 4181171"/>
                <a:gd name="connsiteY3" fmla="*/ 589170 h 1580412"/>
                <a:gd name="connsiteX4" fmla="*/ 371712 w 4181171"/>
                <a:gd name="connsiteY4" fmla="*/ 4745 h 1580412"/>
                <a:gd name="connsiteX5" fmla="*/ 396293 w 4181171"/>
                <a:gd name="connsiteY5" fmla="*/ 0 h 1580412"/>
                <a:gd name="connsiteX6" fmla="*/ 3784879 w 4181171"/>
                <a:gd name="connsiteY6" fmla="*/ 0 h 1580412"/>
                <a:gd name="connsiteX7" fmla="*/ 3809460 w 4181171"/>
                <a:gd name="connsiteY7" fmla="*/ 4745 h 1580412"/>
                <a:gd name="connsiteX8" fmla="*/ 4181086 w 4181171"/>
                <a:gd name="connsiteY8" fmla="*/ 589170 h 1580412"/>
                <a:gd name="connsiteX9" fmla="*/ 4181086 w 4181171"/>
                <a:gd name="connsiteY9" fmla="*/ 1296175 h 1580412"/>
                <a:gd name="connsiteX10" fmla="*/ 3896781 w 4181171"/>
                <a:gd name="connsiteY10" fmla="*/ 1580413 h 1580412"/>
                <a:gd name="connsiteX11" fmla="*/ 410528 w 4181171"/>
                <a:gd name="connsiteY11" fmla="*/ 131805 h 1580412"/>
                <a:gd name="connsiteX12" fmla="*/ 132023 w 4181171"/>
                <a:gd name="connsiteY12" fmla="*/ 589170 h 1580412"/>
                <a:gd name="connsiteX13" fmla="*/ 132023 w 4181171"/>
                <a:gd name="connsiteY13" fmla="*/ 1296175 h 1580412"/>
                <a:gd name="connsiteX14" fmla="*/ 284522 w 4181171"/>
                <a:gd name="connsiteY14" fmla="*/ 1448608 h 1580412"/>
                <a:gd name="connsiteX15" fmla="*/ 3896781 w 4181171"/>
                <a:gd name="connsiteY15" fmla="*/ 1448608 h 1580412"/>
                <a:gd name="connsiteX16" fmla="*/ 4049280 w 4181171"/>
                <a:gd name="connsiteY16" fmla="*/ 1296175 h 1580412"/>
                <a:gd name="connsiteX17" fmla="*/ 4049280 w 4181171"/>
                <a:gd name="connsiteY17" fmla="*/ 589170 h 1580412"/>
                <a:gd name="connsiteX18" fmla="*/ 3770644 w 4181171"/>
                <a:gd name="connsiteY18" fmla="*/ 131806 h 15804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4181171" h="1580412">
                  <a:moveTo>
                    <a:pt x="3896781" y="1580413"/>
                  </a:moveTo>
                  <a:lnTo>
                    <a:pt x="284391" y="1580413"/>
                  </a:lnTo>
                  <a:cubicBezTo>
                    <a:pt x="127460" y="1580268"/>
                    <a:pt x="268" y="1453106"/>
                    <a:pt x="86" y="1296175"/>
                  </a:cubicBezTo>
                  <a:lnTo>
                    <a:pt x="86" y="589170"/>
                  </a:lnTo>
                  <a:cubicBezTo>
                    <a:pt x="-4067" y="337571"/>
                    <a:pt x="142104" y="107700"/>
                    <a:pt x="371712" y="4745"/>
                  </a:cubicBezTo>
                  <a:cubicBezTo>
                    <a:pt x="379532" y="1623"/>
                    <a:pt x="387873" y="13"/>
                    <a:pt x="396293" y="0"/>
                  </a:cubicBezTo>
                  <a:lnTo>
                    <a:pt x="3784879" y="0"/>
                  </a:lnTo>
                  <a:cubicBezTo>
                    <a:pt x="3793299" y="13"/>
                    <a:pt x="3801640" y="1623"/>
                    <a:pt x="3809460" y="4745"/>
                  </a:cubicBezTo>
                  <a:cubicBezTo>
                    <a:pt x="4039068" y="107700"/>
                    <a:pt x="4185239" y="337571"/>
                    <a:pt x="4181086" y="589170"/>
                  </a:cubicBezTo>
                  <a:lnTo>
                    <a:pt x="4181086" y="1296175"/>
                  </a:lnTo>
                  <a:cubicBezTo>
                    <a:pt x="4180904" y="1453106"/>
                    <a:pt x="4053712" y="1580268"/>
                    <a:pt x="3896781" y="1580413"/>
                  </a:cubicBezTo>
                  <a:close/>
                  <a:moveTo>
                    <a:pt x="410528" y="131805"/>
                  </a:moveTo>
                  <a:cubicBezTo>
                    <a:pt x="236715" y="217198"/>
                    <a:pt x="128109" y="395552"/>
                    <a:pt x="132023" y="589170"/>
                  </a:cubicBezTo>
                  <a:lnTo>
                    <a:pt x="132023" y="1296175"/>
                  </a:lnTo>
                  <a:cubicBezTo>
                    <a:pt x="132132" y="1380341"/>
                    <a:pt x="200355" y="1448535"/>
                    <a:pt x="284522" y="1448608"/>
                  </a:cubicBezTo>
                  <a:lnTo>
                    <a:pt x="3896781" y="1448608"/>
                  </a:lnTo>
                  <a:cubicBezTo>
                    <a:pt x="3980948" y="1448535"/>
                    <a:pt x="4049171" y="1380341"/>
                    <a:pt x="4049280" y="1296175"/>
                  </a:cubicBezTo>
                  <a:lnTo>
                    <a:pt x="4049280" y="589170"/>
                  </a:lnTo>
                  <a:cubicBezTo>
                    <a:pt x="4052277" y="395765"/>
                    <a:pt x="3943884" y="217844"/>
                    <a:pt x="3770644" y="131806"/>
                  </a:cubicBezTo>
                  <a:close/>
                </a:path>
              </a:pathLst>
            </a:custGeom>
            <a:grpFill/>
            <a:ln w="3175" cap="flat">
              <a:solidFill>
                <a:srgbClr val="206595"/>
              </a:solidFill>
              <a:prstDash val="solid"/>
              <a:miter/>
            </a:ln>
          </p:spPr>
          <p:txBody>
            <a:bodyPr rtlCol="0" anchor="ctr"/>
            <a:lstStyle/>
            <a:p>
              <a:pPr defTabSz="342905"/>
              <a:endParaRPr lang="ru-RU">
                <a:solidFill>
                  <a:srgbClr val="206595"/>
                </a:solidFill>
                <a:latin typeface="Calibri" panose="020F0502020204030204"/>
              </a:endParaRPr>
            </a:p>
          </p:txBody>
        </p:sp>
      </p:grpSp>
      <p:grpSp>
        <p:nvGrpSpPr>
          <p:cNvPr id="125" name="Graphic 285">
            <a:extLst>
              <a:ext uri="{FF2B5EF4-FFF2-40B4-BE49-F238E27FC236}">
                <a16:creationId xmlns:a16="http://schemas.microsoft.com/office/drawing/2014/main" id="{E342797D-5315-4818-96EE-E5214ED27C0E}"/>
              </a:ext>
            </a:extLst>
          </p:cNvPr>
          <p:cNvGrpSpPr/>
          <p:nvPr/>
        </p:nvGrpSpPr>
        <p:grpSpPr>
          <a:xfrm>
            <a:off x="7331332" y="3895865"/>
            <a:ext cx="335720" cy="335715"/>
            <a:chOff x="4357687" y="1417637"/>
            <a:chExt cx="4724476" cy="4724400"/>
          </a:xfrm>
          <a:solidFill>
            <a:srgbClr val="E94E14"/>
          </a:solidFill>
        </p:grpSpPr>
        <p:sp>
          <p:nvSpPr>
            <p:cNvPr id="126" name="Freeform: Shape 125">
              <a:extLst>
                <a:ext uri="{FF2B5EF4-FFF2-40B4-BE49-F238E27FC236}">
                  <a16:creationId xmlns:a16="http://schemas.microsoft.com/office/drawing/2014/main" id="{920988E4-507F-46C5-B2BC-F344BB7C7CDB}"/>
                </a:ext>
              </a:extLst>
            </p:cNvPr>
            <p:cNvSpPr/>
            <p:nvPr/>
          </p:nvSpPr>
          <p:spPr>
            <a:xfrm>
              <a:off x="4357687" y="2332037"/>
              <a:ext cx="1328242" cy="2895600"/>
            </a:xfrm>
            <a:custGeom>
              <a:avLst/>
              <a:gdLst>
                <a:gd name="connsiteX0" fmla="*/ 1328242 w 1328242"/>
                <a:gd name="connsiteY0" fmla="*/ 434340 h 2895600"/>
                <a:gd name="connsiteX1" fmla="*/ 1219429 w 1328242"/>
                <a:gd name="connsiteY1" fmla="*/ 327660 h 2895600"/>
                <a:gd name="connsiteX2" fmla="*/ 1024204 w 1328242"/>
                <a:gd name="connsiteY2" fmla="*/ 569366 h 2895600"/>
                <a:gd name="connsiteX3" fmla="*/ 596417 w 1328242"/>
                <a:gd name="connsiteY3" fmla="*/ 301981 h 2895600"/>
                <a:gd name="connsiteX4" fmla="*/ 609600 w 1328242"/>
                <a:gd name="connsiteY4" fmla="*/ 228600 h 2895600"/>
                <a:gd name="connsiteX5" fmla="*/ 381000 w 1328242"/>
                <a:gd name="connsiteY5" fmla="*/ 0 h 2895600"/>
                <a:gd name="connsiteX6" fmla="*/ 152400 w 1328242"/>
                <a:gd name="connsiteY6" fmla="*/ 228600 h 2895600"/>
                <a:gd name="connsiteX7" fmla="*/ 381000 w 1328242"/>
                <a:gd name="connsiteY7" fmla="*/ 457200 h 2895600"/>
                <a:gd name="connsiteX8" fmla="*/ 501244 w 1328242"/>
                <a:gd name="connsiteY8" fmla="*/ 422148 h 2895600"/>
                <a:gd name="connsiteX9" fmla="*/ 946633 w 1328242"/>
                <a:gd name="connsiteY9" fmla="*/ 700507 h 2895600"/>
                <a:gd name="connsiteX10" fmla="*/ 765658 w 1328242"/>
                <a:gd name="connsiteY10" fmla="*/ 1371524 h 2895600"/>
                <a:gd name="connsiteX11" fmla="*/ 443179 w 1328242"/>
                <a:gd name="connsiteY11" fmla="*/ 1371524 h 2895600"/>
                <a:gd name="connsiteX12" fmla="*/ 228600 w 1328242"/>
                <a:gd name="connsiteY12" fmla="*/ 1219200 h 2895600"/>
                <a:gd name="connsiteX13" fmla="*/ 0 w 1328242"/>
                <a:gd name="connsiteY13" fmla="*/ 1447800 h 2895600"/>
                <a:gd name="connsiteX14" fmla="*/ 228600 w 1328242"/>
                <a:gd name="connsiteY14" fmla="*/ 1676400 h 2895600"/>
                <a:gd name="connsiteX15" fmla="*/ 443179 w 1328242"/>
                <a:gd name="connsiteY15" fmla="*/ 1524000 h 2895600"/>
                <a:gd name="connsiteX16" fmla="*/ 765658 w 1328242"/>
                <a:gd name="connsiteY16" fmla="*/ 1524000 h 2895600"/>
                <a:gd name="connsiteX17" fmla="*/ 946633 w 1328242"/>
                <a:gd name="connsiteY17" fmla="*/ 2195093 h 2895600"/>
                <a:gd name="connsiteX18" fmla="*/ 501244 w 1328242"/>
                <a:gd name="connsiteY18" fmla="*/ 2473452 h 2895600"/>
                <a:gd name="connsiteX19" fmla="*/ 381000 w 1328242"/>
                <a:gd name="connsiteY19" fmla="*/ 2438400 h 2895600"/>
                <a:gd name="connsiteX20" fmla="*/ 152400 w 1328242"/>
                <a:gd name="connsiteY20" fmla="*/ 2667000 h 2895600"/>
                <a:gd name="connsiteX21" fmla="*/ 381000 w 1328242"/>
                <a:gd name="connsiteY21" fmla="*/ 2895600 h 2895600"/>
                <a:gd name="connsiteX22" fmla="*/ 609600 w 1328242"/>
                <a:gd name="connsiteY22" fmla="*/ 2667000 h 2895600"/>
                <a:gd name="connsiteX23" fmla="*/ 596417 w 1328242"/>
                <a:gd name="connsiteY23" fmla="*/ 2593619 h 2895600"/>
                <a:gd name="connsiteX24" fmla="*/ 1024204 w 1328242"/>
                <a:gd name="connsiteY24" fmla="*/ 2326234 h 2895600"/>
                <a:gd name="connsiteX25" fmla="*/ 1219429 w 1328242"/>
                <a:gd name="connsiteY25" fmla="*/ 2567940 h 2895600"/>
                <a:gd name="connsiteX26" fmla="*/ 1328242 w 1328242"/>
                <a:gd name="connsiteY26" fmla="*/ 2461260 h 2895600"/>
                <a:gd name="connsiteX27" fmla="*/ 914400 w 1328242"/>
                <a:gd name="connsiteY27" fmla="*/ 1447800 h 2895600"/>
                <a:gd name="connsiteX28" fmla="*/ 1328242 w 1328242"/>
                <a:gd name="connsiteY28" fmla="*/ 434340 h 2895600"/>
                <a:gd name="connsiteX29" fmla="*/ 304800 w 1328242"/>
                <a:gd name="connsiteY29" fmla="*/ 228600 h 2895600"/>
                <a:gd name="connsiteX30" fmla="*/ 381000 w 1328242"/>
                <a:gd name="connsiteY30" fmla="*/ 152400 h 2895600"/>
                <a:gd name="connsiteX31" fmla="*/ 457200 w 1328242"/>
                <a:gd name="connsiteY31" fmla="*/ 228600 h 2895600"/>
                <a:gd name="connsiteX32" fmla="*/ 381000 w 1328242"/>
                <a:gd name="connsiteY32" fmla="*/ 304800 h 2895600"/>
                <a:gd name="connsiteX33" fmla="*/ 304800 w 1328242"/>
                <a:gd name="connsiteY33" fmla="*/ 228600 h 2895600"/>
                <a:gd name="connsiteX34" fmla="*/ 381000 w 1328242"/>
                <a:gd name="connsiteY34" fmla="*/ 2743200 h 2895600"/>
                <a:gd name="connsiteX35" fmla="*/ 304800 w 1328242"/>
                <a:gd name="connsiteY35" fmla="*/ 2667000 h 2895600"/>
                <a:gd name="connsiteX36" fmla="*/ 381000 w 1328242"/>
                <a:gd name="connsiteY36" fmla="*/ 2590800 h 2895600"/>
                <a:gd name="connsiteX37" fmla="*/ 457200 w 1328242"/>
                <a:gd name="connsiteY37" fmla="*/ 2667000 h 2895600"/>
                <a:gd name="connsiteX38" fmla="*/ 381000 w 1328242"/>
                <a:gd name="connsiteY38" fmla="*/ 2743200 h 2895600"/>
                <a:gd name="connsiteX39" fmla="*/ 228600 w 1328242"/>
                <a:gd name="connsiteY39" fmla="*/ 1524000 h 2895600"/>
                <a:gd name="connsiteX40" fmla="*/ 152400 w 1328242"/>
                <a:gd name="connsiteY40" fmla="*/ 1447800 h 2895600"/>
                <a:gd name="connsiteX41" fmla="*/ 228600 w 1328242"/>
                <a:gd name="connsiteY41" fmla="*/ 1371600 h 2895600"/>
                <a:gd name="connsiteX42" fmla="*/ 304800 w 1328242"/>
                <a:gd name="connsiteY42" fmla="*/ 1447800 h 2895600"/>
                <a:gd name="connsiteX43" fmla="*/ 228600 w 1328242"/>
                <a:gd name="connsiteY43" fmla="*/ 1524000 h 2895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</a:cxnLst>
              <a:rect l="l" t="t" r="r" b="b"/>
              <a:pathLst>
                <a:path w="1328242" h="2895600">
                  <a:moveTo>
                    <a:pt x="1328242" y="434340"/>
                  </a:moveTo>
                  <a:lnTo>
                    <a:pt x="1219429" y="327660"/>
                  </a:lnTo>
                  <a:cubicBezTo>
                    <a:pt x="1145972" y="402565"/>
                    <a:pt x="1080745" y="483565"/>
                    <a:pt x="1024204" y="569366"/>
                  </a:cubicBezTo>
                  <a:lnTo>
                    <a:pt x="596417" y="301981"/>
                  </a:lnTo>
                  <a:cubicBezTo>
                    <a:pt x="604342" y="278816"/>
                    <a:pt x="609600" y="254432"/>
                    <a:pt x="609600" y="228600"/>
                  </a:cubicBezTo>
                  <a:cubicBezTo>
                    <a:pt x="609600" y="102565"/>
                    <a:pt x="507035" y="0"/>
                    <a:pt x="381000" y="0"/>
                  </a:cubicBezTo>
                  <a:cubicBezTo>
                    <a:pt x="254965" y="0"/>
                    <a:pt x="152400" y="102565"/>
                    <a:pt x="152400" y="228600"/>
                  </a:cubicBezTo>
                  <a:cubicBezTo>
                    <a:pt x="152400" y="354635"/>
                    <a:pt x="254965" y="457200"/>
                    <a:pt x="381000" y="457200"/>
                  </a:cubicBezTo>
                  <a:cubicBezTo>
                    <a:pt x="425196" y="457200"/>
                    <a:pt x="466192" y="444017"/>
                    <a:pt x="501244" y="422148"/>
                  </a:cubicBezTo>
                  <a:lnTo>
                    <a:pt x="946633" y="700507"/>
                  </a:lnTo>
                  <a:cubicBezTo>
                    <a:pt x="837743" y="906170"/>
                    <a:pt x="776783" y="1134466"/>
                    <a:pt x="765658" y="1371524"/>
                  </a:cubicBezTo>
                  <a:lnTo>
                    <a:pt x="443179" y="1371524"/>
                  </a:lnTo>
                  <a:cubicBezTo>
                    <a:pt x="411632" y="1283132"/>
                    <a:pt x="327812" y="1219200"/>
                    <a:pt x="228600" y="1219200"/>
                  </a:cubicBezTo>
                  <a:cubicBezTo>
                    <a:pt x="102565" y="1219200"/>
                    <a:pt x="0" y="1321765"/>
                    <a:pt x="0" y="1447800"/>
                  </a:cubicBezTo>
                  <a:cubicBezTo>
                    <a:pt x="0" y="1573835"/>
                    <a:pt x="102565" y="1676400"/>
                    <a:pt x="228600" y="1676400"/>
                  </a:cubicBezTo>
                  <a:cubicBezTo>
                    <a:pt x="327812" y="1676400"/>
                    <a:pt x="411632" y="1612468"/>
                    <a:pt x="443179" y="1524000"/>
                  </a:cubicBezTo>
                  <a:lnTo>
                    <a:pt x="765658" y="1524000"/>
                  </a:lnTo>
                  <a:cubicBezTo>
                    <a:pt x="776783" y="1761058"/>
                    <a:pt x="837743" y="1989353"/>
                    <a:pt x="946633" y="2195093"/>
                  </a:cubicBezTo>
                  <a:lnTo>
                    <a:pt x="501244" y="2473452"/>
                  </a:lnTo>
                  <a:cubicBezTo>
                    <a:pt x="466268" y="2451583"/>
                    <a:pt x="425272" y="2438400"/>
                    <a:pt x="381000" y="2438400"/>
                  </a:cubicBezTo>
                  <a:cubicBezTo>
                    <a:pt x="254965" y="2438400"/>
                    <a:pt x="152400" y="2540965"/>
                    <a:pt x="152400" y="2667000"/>
                  </a:cubicBezTo>
                  <a:cubicBezTo>
                    <a:pt x="152400" y="2793035"/>
                    <a:pt x="254965" y="2895600"/>
                    <a:pt x="381000" y="2895600"/>
                  </a:cubicBezTo>
                  <a:cubicBezTo>
                    <a:pt x="507035" y="2895600"/>
                    <a:pt x="609600" y="2793035"/>
                    <a:pt x="609600" y="2667000"/>
                  </a:cubicBezTo>
                  <a:cubicBezTo>
                    <a:pt x="609600" y="2641168"/>
                    <a:pt x="604342" y="2616784"/>
                    <a:pt x="596417" y="2593619"/>
                  </a:cubicBezTo>
                  <a:lnTo>
                    <a:pt x="1024204" y="2326234"/>
                  </a:lnTo>
                  <a:cubicBezTo>
                    <a:pt x="1080745" y="2412035"/>
                    <a:pt x="1145972" y="2493035"/>
                    <a:pt x="1219429" y="2567940"/>
                  </a:cubicBezTo>
                  <a:lnTo>
                    <a:pt x="1328242" y="2461260"/>
                  </a:lnTo>
                  <a:cubicBezTo>
                    <a:pt x="1061390" y="2189074"/>
                    <a:pt x="914400" y="1829105"/>
                    <a:pt x="914400" y="1447800"/>
                  </a:cubicBezTo>
                  <a:cubicBezTo>
                    <a:pt x="914400" y="1066495"/>
                    <a:pt x="1061390" y="706526"/>
                    <a:pt x="1328242" y="434340"/>
                  </a:cubicBezTo>
                  <a:close/>
                  <a:moveTo>
                    <a:pt x="304800" y="228600"/>
                  </a:moveTo>
                  <a:cubicBezTo>
                    <a:pt x="304800" y="186614"/>
                    <a:pt x="339014" y="152400"/>
                    <a:pt x="381000" y="152400"/>
                  </a:cubicBezTo>
                  <a:cubicBezTo>
                    <a:pt x="422986" y="152400"/>
                    <a:pt x="457200" y="186614"/>
                    <a:pt x="457200" y="228600"/>
                  </a:cubicBezTo>
                  <a:cubicBezTo>
                    <a:pt x="457200" y="270586"/>
                    <a:pt x="422986" y="304800"/>
                    <a:pt x="381000" y="304800"/>
                  </a:cubicBezTo>
                  <a:cubicBezTo>
                    <a:pt x="339014" y="304800"/>
                    <a:pt x="304800" y="270586"/>
                    <a:pt x="304800" y="228600"/>
                  </a:cubicBezTo>
                  <a:close/>
                  <a:moveTo>
                    <a:pt x="381000" y="2743200"/>
                  </a:moveTo>
                  <a:cubicBezTo>
                    <a:pt x="339014" y="2743200"/>
                    <a:pt x="304800" y="2709062"/>
                    <a:pt x="304800" y="2667000"/>
                  </a:cubicBezTo>
                  <a:cubicBezTo>
                    <a:pt x="304800" y="2624938"/>
                    <a:pt x="339014" y="2590800"/>
                    <a:pt x="381000" y="2590800"/>
                  </a:cubicBezTo>
                  <a:cubicBezTo>
                    <a:pt x="422986" y="2590800"/>
                    <a:pt x="457200" y="2624938"/>
                    <a:pt x="457200" y="2667000"/>
                  </a:cubicBezTo>
                  <a:cubicBezTo>
                    <a:pt x="457200" y="2709062"/>
                    <a:pt x="422986" y="2743200"/>
                    <a:pt x="381000" y="2743200"/>
                  </a:cubicBezTo>
                  <a:close/>
                  <a:moveTo>
                    <a:pt x="228600" y="1524000"/>
                  </a:moveTo>
                  <a:cubicBezTo>
                    <a:pt x="186614" y="1524000"/>
                    <a:pt x="152400" y="1489786"/>
                    <a:pt x="152400" y="1447800"/>
                  </a:cubicBezTo>
                  <a:cubicBezTo>
                    <a:pt x="152400" y="1405814"/>
                    <a:pt x="186614" y="1371600"/>
                    <a:pt x="228600" y="1371600"/>
                  </a:cubicBezTo>
                  <a:cubicBezTo>
                    <a:pt x="270586" y="1371600"/>
                    <a:pt x="304800" y="1405814"/>
                    <a:pt x="304800" y="1447800"/>
                  </a:cubicBezTo>
                  <a:cubicBezTo>
                    <a:pt x="304800" y="1489786"/>
                    <a:pt x="270586" y="1524000"/>
                    <a:pt x="228600" y="1524000"/>
                  </a:cubicBezTo>
                  <a:close/>
                </a:path>
              </a:pathLst>
            </a:custGeom>
            <a:grpFill/>
            <a:ln w="7620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342905"/>
              <a:endParaRPr lang="ru-RU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7" name="Freeform: Shape 126">
              <a:extLst>
                <a:ext uri="{FF2B5EF4-FFF2-40B4-BE49-F238E27FC236}">
                  <a16:creationId xmlns:a16="http://schemas.microsoft.com/office/drawing/2014/main" id="{28F07333-365C-4514-B5B9-67F6C0C0B463}"/>
                </a:ext>
              </a:extLst>
            </p:cNvPr>
            <p:cNvSpPr/>
            <p:nvPr/>
          </p:nvSpPr>
          <p:spPr>
            <a:xfrm>
              <a:off x="7753844" y="2332037"/>
              <a:ext cx="1328318" cy="2895600"/>
            </a:xfrm>
            <a:custGeom>
              <a:avLst/>
              <a:gdLst>
                <a:gd name="connsiteX0" fmla="*/ 562585 w 1328318"/>
                <a:gd name="connsiteY0" fmla="*/ 1524000 h 2895600"/>
                <a:gd name="connsiteX1" fmla="*/ 885139 w 1328318"/>
                <a:gd name="connsiteY1" fmla="*/ 1524000 h 2895600"/>
                <a:gd name="connsiteX2" fmla="*/ 1099718 w 1328318"/>
                <a:gd name="connsiteY2" fmla="*/ 1676400 h 2895600"/>
                <a:gd name="connsiteX3" fmla="*/ 1328318 w 1328318"/>
                <a:gd name="connsiteY3" fmla="*/ 1447800 h 2895600"/>
                <a:gd name="connsiteX4" fmla="*/ 1099718 w 1328318"/>
                <a:gd name="connsiteY4" fmla="*/ 1219200 h 2895600"/>
                <a:gd name="connsiteX5" fmla="*/ 885139 w 1328318"/>
                <a:gd name="connsiteY5" fmla="*/ 1371600 h 2895600"/>
                <a:gd name="connsiteX6" fmla="*/ 562661 w 1328318"/>
                <a:gd name="connsiteY6" fmla="*/ 1371600 h 2895600"/>
                <a:gd name="connsiteX7" fmla="*/ 381686 w 1328318"/>
                <a:gd name="connsiteY7" fmla="*/ 700583 h 2895600"/>
                <a:gd name="connsiteX8" fmla="*/ 827075 w 1328318"/>
                <a:gd name="connsiteY8" fmla="*/ 422224 h 2895600"/>
                <a:gd name="connsiteX9" fmla="*/ 947242 w 1328318"/>
                <a:gd name="connsiteY9" fmla="*/ 457200 h 2895600"/>
                <a:gd name="connsiteX10" fmla="*/ 1175842 w 1328318"/>
                <a:gd name="connsiteY10" fmla="*/ 228600 h 2895600"/>
                <a:gd name="connsiteX11" fmla="*/ 947242 w 1328318"/>
                <a:gd name="connsiteY11" fmla="*/ 0 h 2895600"/>
                <a:gd name="connsiteX12" fmla="*/ 718642 w 1328318"/>
                <a:gd name="connsiteY12" fmla="*/ 228600 h 2895600"/>
                <a:gd name="connsiteX13" fmla="*/ 731825 w 1328318"/>
                <a:gd name="connsiteY13" fmla="*/ 301981 h 2895600"/>
                <a:gd name="connsiteX14" fmla="*/ 304038 w 1328318"/>
                <a:gd name="connsiteY14" fmla="*/ 569366 h 2895600"/>
                <a:gd name="connsiteX15" fmla="*/ 108814 w 1328318"/>
                <a:gd name="connsiteY15" fmla="*/ 327660 h 2895600"/>
                <a:gd name="connsiteX16" fmla="*/ 0 w 1328318"/>
                <a:gd name="connsiteY16" fmla="*/ 434340 h 2895600"/>
                <a:gd name="connsiteX17" fmla="*/ 413842 w 1328318"/>
                <a:gd name="connsiteY17" fmla="*/ 1447800 h 2895600"/>
                <a:gd name="connsiteX18" fmla="*/ 0 w 1328318"/>
                <a:gd name="connsiteY18" fmla="*/ 2461260 h 2895600"/>
                <a:gd name="connsiteX19" fmla="*/ 108814 w 1328318"/>
                <a:gd name="connsiteY19" fmla="*/ 2567940 h 2895600"/>
                <a:gd name="connsiteX20" fmla="*/ 304038 w 1328318"/>
                <a:gd name="connsiteY20" fmla="*/ 2326234 h 2895600"/>
                <a:gd name="connsiteX21" fmla="*/ 731825 w 1328318"/>
                <a:gd name="connsiteY21" fmla="*/ 2593619 h 2895600"/>
                <a:gd name="connsiteX22" fmla="*/ 718642 w 1328318"/>
                <a:gd name="connsiteY22" fmla="*/ 2667000 h 2895600"/>
                <a:gd name="connsiteX23" fmla="*/ 947242 w 1328318"/>
                <a:gd name="connsiteY23" fmla="*/ 2895600 h 2895600"/>
                <a:gd name="connsiteX24" fmla="*/ 1175842 w 1328318"/>
                <a:gd name="connsiteY24" fmla="*/ 2667000 h 2895600"/>
                <a:gd name="connsiteX25" fmla="*/ 947242 w 1328318"/>
                <a:gd name="connsiteY25" fmla="*/ 2438400 h 2895600"/>
                <a:gd name="connsiteX26" fmla="*/ 826999 w 1328318"/>
                <a:gd name="connsiteY26" fmla="*/ 2473452 h 2895600"/>
                <a:gd name="connsiteX27" fmla="*/ 381610 w 1328318"/>
                <a:gd name="connsiteY27" fmla="*/ 2195093 h 2895600"/>
                <a:gd name="connsiteX28" fmla="*/ 562585 w 1328318"/>
                <a:gd name="connsiteY28" fmla="*/ 1524000 h 2895600"/>
                <a:gd name="connsiteX29" fmla="*/ 947242 w 1328318"/>
                <a:gd name="connsiteY29" fmla="*/ 152400 h 2895600"/>
                <a:gd name="connsiteX30" fmla="*/ 1023442 w 1328318"/>
                <a:gd name="connsiteY30" fmla="*/ 228600 h 2895600"/>
                <a:gd name="connsiteX31" fmla="*/ 947242 w 1328318"/>
                <a:gd name="connsiteY31" fmla="*/ 304800 h 2895600"/>
                <a:gd name="connsiteX32" fmla="*/ 871042 w 1328318"/>
                <a:gd name="connsiteY32" fmla="*/ 228600 h 2895600"/>
                <a:gd name="connsiteX33" fmla="*/ 947242 w 1328318"/>
                <a:gd name="connsiteY33" fmla="*/ 152400 h 2895600"/>
                <a:gd name="connsiteX34" fmla="*/ 1099642 w 1328318"/>
                <a:gd name="connsiteY34" fmla="*/ 1371600 h 2895600"/>
                <a:gd name="connsiteX35" fmla="*/ 1175842 w 1328318"/>
                <a:gd name="connsiteY35" fmla="*/ 1447800 h 2895600"/>
                <a:gd name="connsiteX36" fmla="*/ 1099642 w 1328318"/>
                <a:gd name="connsiteY36" fmla="*/ 1524000 h 2895600"/>
                <a:gd name="connsiteX37" fmla="*/ 1023442 w 1328318"/>
                <a:gd name="connsiteY37" fmla="*/ 1447800 h 2895600"/>
                <a:gd name="connsiteX38" fmla="*/ 1099642 w 1328318"/>
                <a:gd name="connsiteY38" fmla="*/ 1371600 h 2895600"/>
                <a:gd name="connsiteX39" fmla="*/ 1023442 w 1328318"/>
                <a:gd name="connsiteY39" fmla="*/ 2667000 h 2895600"/>
                <a:gd name="connsiteX40" fmla="*/ 947242 w 1328318"/>
                <a:gd name="connsiteY40" fmla="*/ 2743200 h 2895600"/>
                <a:gd name="connsiteX41" fmla="*/ 871042 w 1328318"/>
                <a:gd name="connsiteY41" fmla="*/ 2667000 h 2895600"/>
                <a:gd name="connsiteX42" fmla="*/ 947242 w 1328318"/>
                <a:gd name="connsiteY42" fmla="*/ 2590800 h 2895600"/>
                <a:gd name="connsiteX43" fmla="*/ 1023442 w 1328318"/>
                <a:gd name="connsiteY43" fmla="*/ 2667000 h 2895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</a:cxnLst>
              <a:rect l="l" t="t" r="r" b="b"/>
              <a:pathLst>
                <a:path w="1328318" h="2895600">
                  <a:moveTo>
                    <a:pt x="562585" y="1524000"/>
                  </a:moveTo>
                  <a:lnTo>
                    <a:pt x="885139" y="1524000"/>
                  </a:lnTo>
                  <a:cubicBezTo>
                    <a:pt x="916686" y="1612468"/>
                    <a:pt x="1000506" y="1676400"/>
                    <a:pt x="1099718" y="1676400"/>
                  </a:cubicBezTo>
                  <a:cubicBezTo>
                    <a:pt x="1225753" y="1676400"/>
                    <a:pt x="1328318" y="1573835"/>
                    <a:pt x="1328318" y="1447800"/>
                  </a:cubicBezTo>
                  <a:cubicBezTo>
                    <a:pt x="1328318" y="1321765"/>
                    <a:pt x="1225753" y="1219200"/>
                    <a:pt x="1099718" y="1219200"/>
                  </a:cubicBezTo>
                  <a:cubicBezTo>
                    <a:pt x="1000506" y="1219200"/>
                    <a:pt x="916686" y="1283132"/>
                    <a:pt x="885139" y="1371600"/>
                  </a:cubicBezTo>
                  <a:lnTo>
                    <a:pt x="562661" y="1371600"/>
                  </a:lnTo>
                  <a:cubicBezTo>
                    <a:pt x="551536" y="1134542"/>
                    <a:pt x="490576" y="906247"/>
                    <a:pt x="381686" y="700583"/>
                  </a:cubicBezTo>
                  <a:lnTo>
                    <a:pt x="827075" y="422224"/>
                  </a:lnTo>
                  <a:cubicBezTo>
                    <a:pt x="862051" y="444017"/>
                    <a:pt x="903046" y="457200"/>
                    <a:pt x="947242" y="457200"/>
                  </a:cubicBezTo>
                  <a:cubicBezTo>
                    <a:pt x="1073277" y="457200"/>
                    <a:pt x="1175842" y="354635"/>
                    <a:pt x="1175842" y="228600"/>
                  </a:cubicBezTo>
                  <a:cubicBezTo>
                    <a:pt x="1175842" y="102565"/>
                    <a:pt x="1073277" y="0"/>
                    <a:pt x="947242" y="0"/>
                  </a:cubicBezTo>
                  <a:cubicBezTo>
                    <a:pt x="821207" y="0"/>
                    <a:pt x="718642" y="102565"/>
                    <a:pt x="718642" y="228600"/>
                  </a:cubicBezTo>
                  <a:cubicBezTo>
                    <a:pt x="718642" y="254432"/>
                    <a:pt x="723900" y="278816"/>
                    <a:pt x="731825" y="301981"/>
                  </a:cubicBezTo>
                  <a:lnTo>
                    <a:pt x="304038" y="569366"/>
                  </a:lnTo>
                  <a:cubicBezTo>
                    <a:pt x="247498" y="483565"/>
                    <a:pt x="182270" y="402565"/>
                    <a:pt x="108814" y="327660"/>
                  </a:cubicBezTo>
                  <a:lnTo>
                    <a:pt x="0" y="434340"/>
                  </a:lnTo>
                  <a:cubicBezTo>
                    <a:pt x="266852" y="706526"/>
                    <a:pt x="413842" y="1066495"/>
                    <a:pt x="413842" y="1447800"/>
                  </a:cubicBezTo>
                  <a:cubicBezTo>
                    <a:pt x="413842" y="1829105"/>
                    <a:pt x="266852" y="2189074"/>
                    <a:pt x="0" y="2461260"/>
                  </a:cubicBezTo>
                  <a:lnTo>
                    <a:pt x="108814" y="2567940"/>
                  </a:lnTo>
                  <a:cubicBezTo>
                    <a:pt x="182270" y="2493035"/>
                    <a:pt x="247498" y="2412035"/>
                    <a:pt x="304038" y="2326234"/>
                  </a:cubicBezTo>
                  <a:lnTo>
                    <a:pt x="731825" y="2593619"/>
                  </a:lnTo>
                  <a:cubicBezTo>
                    <a:pt x="723900" y="2616784"/>
                    <a:pt x="718642" y="2641168"/>
                    <a:pt x="718642" y="2667000"/>
                  </a:cubicBezTo>
                  <a:cubicBezTo>
                    <a:pt x="718642" y="2793035"/>
                    <a:pt x="821207" y="2895600"/>
                    <a:pt x="947242" y="2895600"/>
                  </a:cubicBezTo>
                  <a:cubicBezTo>
                    <a:pt x="1073277" y="2895600"/>
                    <a:pt x="1175842" y="2793035"/>
                    <a:pt x="1175842" y="2667000"/>
                  </a:cubicBezTo>
                  <a:cubicBezTo>
                    <a:pt x="1175842" y="2540965"/>
                    <a:pt x="1073277" y="2438400"/>
                    <a:pt x="947242" y="2438400"/>
                  </a:cubicBezTo>
                  <a:cubicBezTo>
                    <a:pt x="902970" y="2438400"/>
                    <a:pt x="861974" y="2451583"/>
                    <a:pt x="826999" y="2473452"/>
                  </a:cubicBezTo>
                  <a:lnTo>
                    <a:pt x="381610" y="2195093"/>
                  </a:lnTo>
                  <a:cubicBezTo>
                    <a:pt x="490499" y="1989353"/>
                    <a:pt x="551459" y="1761058"/>
                    <a:pt x="562585" y="1524000"/>
                  </a:cubicBezTo>
                  <a:close/>
                  <a:moveTo>
                    <a:pt x="947242" y="152400"/>
                  </a:moveTo>
                  <a:cubicBezTo>
                    <a:pt x="989228" y="152400"/>
                    <a:pt x="1023442" y="186614"/>
                    <a:pt x="1023442" y="228600"/>
                  </a:cubicBezTo>
                  <a:cubicBezTo>
                    <a:pt x="1023442" y="270586"/>
                    <a:pt x="989228" y="304800"/>
                    <a:pt x="947242" y="304800"/>
                  </a:cubicBezTo>
                  <a:cubicBezTo>
                    <a:pt x="905256" y="304800"/>
                    <a:pt x="871042" y="270586"/>
                    <a:pt x="871042" y="228600"/>
                  </a:cubicBezTo>
                  <a:cubicBezTo>
                    <a:pt x="871042" y="186614"/>
                    <a:pt x="905256" y="152400"/>
                    <a:pt x="947242" y="152400"/>
                  </a:cubicBezTo>
                  <a:close/>
                  <a:moveTo>
                    <a:pt x="1099642" y="1371600"/>
                  </a:moveTo>
                  <a:cubicBezTo>
                    <a:pt x="1141628" y="1371600"/>
                    <a:pt x="1175842" y="1405814"/>
                    <a:pt x="1175842" y="1447800"/>
                  </a:cubicBezTo>
                  <a:cubicBezTo>
                    <a:pt x="1175842" y="1489786"/>
                    <a:pt x="1141628" y="1524000"/>
                    <a:pt x="1099642" y="1524000"/>
                  </a:cubicBezTo>
                  <a:cubicBezTo>
                    <a:pt x="1057656" y="1524000"/>
                    <a:pt x="1023442" y="1489786"/>
                    <a:pt x="1023442" y="1447800"/>
                  </a:cubicBezTo>
                  <a:cubicBezTo>
                    <a:pt x="1023442" y="1405814"/>
                    <a:pt x="1057656" y="1371600"/>
                    <a:pt x="1099642" y="1371600"/>
                  </a:cubicBezTo>
                  <a:close/>
                  <a:moveTo>
                    <a:pt x="1023442" y="2667000"/>
                  </a:moveTo>
                  <a:cubicBezTo>
                    <a:pt x="1023442" y="2709062"/>
                    <a:pt x="989228" y="2743200"/>
                    <a:pt x="947242" y="2743200"/>
                  </a:cubicBezTo>
                  <a:cubicBezTo>
                    <a:pt x="905256" y="2743200"/>
                    <a:pt x="871042" y="2709062"/>
                    <a:pt x="871042" y="2667000"/>
                  </a:cubicBezTo>
                  <a:cubicBezTo>
                    <a:pt x="871042" y="2624938"/>
                    <a:pt x="905256" y="2590800"/>
                    <a:pt x="947242" y="2590800"/>
                  </a:cubicBezTo>
                  <a:cubicBezTo>
                    <a:pt x="989228" y="2590800"/>
                    <a:pt x="1023442" y="2624938"/>
                    <a:pt x="1023442" y="2667000"/>
                  </a:cubicBezTo>
                  <a:close/>
                </a:path>
              </a:pathLst>
            </a:custGeom>
            <a:grpFill/>
            <a:ln w="7620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342905"/>
              <a:endParaRPr lang="ru-RU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8" name="Freeform: Shape 127">
              <a:extLst>
                <a:ext uri="{FF2B5EF4-FFF2-40B4-BE49-F238E27FC236}">
                  <a16:creationId xmlns:a16="http://schemas.microsoft.com/office/drawing/2014/main" id="{08E9A6FA-0598-4662-987D-577D0A415A1F}"/>
                </a:ext>
              </a:extLst>
            </p:cNvPr>
            <p:cNvSpPr/>
            <p:nvPr/>
          </p:nvSpPr>
          <p:spPr>
            <a:xfrm>
              <a:off x="5424487" y="1417637"/>
              <a:ext cx="2590800" cy="4724400"/>
            </a:xfrm>
            <a:custGeom>
              <a:avLst/>
              <a:gdLst>
                <a:gd name="connsiteX0" fmla="*/ 2325395 w 2590800"/>
                <a:gd name="connsiteY0" fmla="*/ 3069717 h 4724400"/>
                <a:gd name="connsiteX1" fmla="*/ 2206447 w 2590800"/>
                <a:gd name="connsiteY1" fmla="*/ 2916860 h 4724400"/>
                <a:gd name="connsiteX2" fmla="*/ 2331492 w 2590800"/>
                <a:gd name="connsiteY2" fmla="*/ 2614270 h 4724400"/>
                <a:gd name="connsiteX3" fmla="*/ 2523973 w 2590800"/>
                <a:gd name="connsiteY3" fmla="*/ 2590191 h 4724400"/>
                <a:gd name="connsiteX4" fmla="*/ 2590800 w 2590800"/>
                <a:gd name="connsiteY4" fmla="*/ 2514600 h 4724400"/>
                <a:gd name="connsiteX5" fmla="*/ 2590800 w 2590800"/>
                <a:gd name="connsiteY5" fmla="*/ 2209800 h 4724400"/>
                <a:gd name="connsiteX6" fmla="*/ 2524049 w 2590800"/>
                <a:gd name="connsiteY6" fmla="*/ 2134210 h 4724400"/>
                <a:gd name="connsiteX7" fmla="*/ 2331568 w 2590800"/>
                <a:gd name="connsiteY7" fmla="*/ 2110130 h 4724400"/>
                <a:gd name="connsiteX8" fmla="*/ 2206524 w 2590800"/>
                <a:gd name="connsiteY8" fmla="*/ 1807540 h 4724400"/>
                <a:gd name="connsiteX9" fmla="*/ 2325472 w 2590800"/>
                <a:gd name="connsiteY9" fmla="*/ 1654683 h 4724400"/>
                <a:gd name="connsiteX10" fmla="*/ 2319223 w 2590800"/>
                <a:gd name="connsiteY10" fmla="*/ 1554023 h 4724400"/>
                <a:gd name="connsiteX11" fmla="*/ 2103653 w 2590800"/>
                <a:gd name="connsiteY11" fmla="*/ 1338453 h 4724400"/>
                <a:gd name="connsiteX12" fmla="*/ 2002993 w 2590800"/>
                <a:gd name="connsiteY12" fmla="*/ 1332205 h 4724400"/>
                <a:gd name="connsiteX13" fmla="*/ 1850136 w 2590800"/>
                <a:gd name="connsiteY13" fmla="*/ 1451153 h 4724400"/>
                <a:gd name="connsiteX14" fmla="*/ 1547546 w 2590800"/>
                <a:gd name="connsiteY14" fmla="*/ 1326109 h 4724400"/>
                <a:gd name="connsiteX15" fmla="*/ 1523467 w 2590800"/>
                <a:gd name="connsiteY15" fmla="*/ 1133627 h 4724400"/>
                <a:gd name="connsiteX16" fmla="*/ 1447800 w 2590800"/>
                <a:gd name="connsiteY16" fmla="*/ 1066800 h 4724400"/>
                <a:gd name="connsiteX17" fmla="*/ 1371600 w 2590800"/>
                <a:gd name="connsiteY17" fmla="*/ 1066800 h 4724400"/>
                <a:gd name="connsiteX18" fmla="*/ 1371600 w 2590800"/>
                <a:gd name="connsiteY18" fmla="*/ 0 h 4724400"/>
                <a:gd name="connsiteX19" fmla="*/ 1219200 w 2590800"/>
                <a:gd name="connsiteY19" fmla="*/ 0 h 4724400"/>
                <a:gd name="connsiteX20" fmla="*/ 1219200 w 2590800"/>
                <a:gd name="connsiteY20" fmla="*/ 1066800 h 4724400"/>
                <a:gd name="connsiteX21" fmla="*/ 1143000 w 2590800"/>
                <a:gd name="connsiteY21" fmla="*/ 1066800 h 4724400"/>
                <a:gd name="connsiteX22" fmla="*/ 1067410 w 2590800"/>
                <a:gd name="connsiteY22" fmla="*/ 1133551 h 4724400"/>
                <a:gd name="connsiteX23" fmla="*/ 1043330 w 2590800"/>
                <a:gd name="connsiteY23" fmla="*/ 1326032 h 4724400"/>
                <a:gd name="connsiteX24" fmla="*/ 740740 w 2590800"/>
                <a:gd name="connsiteY24" fmla="*/ 1451077 h 4724400"/>
                <a:gd name="connsiteX25" fmla="*/ 587883 w 2590800"/>
                <a:gd name="connsiteY25" fmla="*/ 1332128 h 4724400"/>
                <a:gd name="connsiteX26" fmla="*/ 487223 w 2590800"/>
                <a:gd name="connsiteY26" fmla="*/ 1338377 h 4724400"/>
                <a:gd name="connsiteX27" fmla="*/ 271653 w 2590800"/>
                <a:gd name="connsiteY27" fmla="*/ 1553947 h 4724400"/>
                <a:gd name="connsiteX28" fmla="*/ 265405 w 2590800"/>
                <a:gd name="connsiteY28" fmla="*/ 1654607 h 4724400"/>
                <a:gd name="connsiteX29" fmla="*/ 384353 w 2590800"/>
                <a:gd name="connsiteY29" fmla="*/ 1807464 h 4724400"/>
                <a:gd name="connsiteX30" fmla="*/ 259309 w 2590800"/>
                <a:gd name="connsiteY30" fmla="*/ 2110054 h 4724400"/>
                <a:gd name="connsiteX31" fmla="*/ 66827 w 2590800"/>
                <a:gd name="connsiteY31" fmla="*/ 2134134 h 4724400"/>
                <a:gd name="connsiteX32" fmla="*/ 0 w 2590800"/>
                <a:gd name="connsiteY32" fmla="*/ 2209800 h 4724400"/>
                <a:gd name="connsiteX33" fmla="*/ 0 w 2590800"/>
                <a:gd name="connsiteY33" fmla="*/ 2514600 h 4724400"/>
                <a:gd name="connsiteX34" fmla="*/ 66751 w 2590800"/>
                <a:gd name="connsiteY34" fmla="*/ 2590191 h 4724400"/>
                <a:gd name="connsiteX35" fmla="*/ 259232 w 2590800"/>
                <a:gd name="connsiteY35" fmla="*/ 2614270 h 4724400"/>
                <a:gd name="connsiteX36" fmla="*/ 384277 w 2590800"/>
                <a:gd name="connsiteY36" fmla="*/ 2916860 h 4724400"/>
                <a:gd name="connsiteX37" fmla="*/ 265328 w 2590800"/>
                <a:gd name="connsiteY37" fmla="*/ 3069717 h 4724400"/>
                <a:gd name="connsiteX38" fmla="*/ 271577 w 2590800"/>
                <a:gd name="connsiteY38" fmla="*/ 3170377 h 4724400"/>
                <a:gd name="connsiteX39" fmla="*/ 487147 w 2590800"/>
                <a:gd name="connsiteY39" fmla="*/ 3385871 h 4724400"/>
                <a:gd name="connsiteX40" fmla="*/ 587807 w 2590800"/>
                <a:gd name="connsiteY40" fmla="*/ 3392119 h 4724400"/>
                <a:gd name="connsiteX41" fmla="*/ 740664 w 2590800"/>
                <a:gd name="connsiteY41" fmla="*/ 3273247 h 4724400"/>
                <a:gd name="connsiteX42" fmla="*/ 1043330 w 2590800"/>
                <a:gd name="connsiteY42" fmla="*/ 3398292 h 4724400"/>
                <a:gd name="connsiteX43" fmla="*/ 1067410 w 2590800"/>
                <a:gd name="connsiteY43" fmla="*/ 3590773 h 4724400"/>
                <a:gd name="connsiteX44" fmla="*/ 1143000 w 2590800"/>
                <a:gd name="connsiteY44" fmla="*/ 3657600 h 4724400"/>
                <a:gd name="connsiteX45" fmla="*/ 1219200 w 2590800"/>
                <a:gd name="connsiteY45" fmla="*/ 3657600 h 4724400"/>
                <a:gd name="connsiteX46" fmla="*/ 1219200 w 2590800"/>
                <a:gd name="connsiteY46" fmla="*/ 4724400 h 4724400"/>
                <a:gd name="connsiteX47" fmla="*/ 1371600 w 2590800"/>
                <a:gd name="connsiteY47" fmla="*/ 4724400 h 4724400"/>
                <a:gd name="connsiteX48" fmla="*/ 1371600 w 2590800"/>
                <a:gd name="connsiteY48" fmla="*/ 3657600 h 4724400"/>
                <a:gd name="connsiteX49" fmla="*/ 1447800 w 2590800"/>
                <a:gd name="connsiteY49" fmla="*/ 3657600 h 4724400"/>
                <a:gd name="connsiteX50" fmla="*/ 1523391 w 2590800"/>
                <a:gd name="connsiteY50" fmla="*/ 3590849 h 4724400"/>
                <a:gd name="connsiteX51" fmla="*/ 1547470 w 2590800"/>
                <a:gd name="connsiteY51" fmla="*/ 3398368 h 4724400"/>
                <a:gd name="connsiteX52" fmla="*/ 1850136 w 2590800"/>
                <a:gd name="connsiteY52" fmla="*/ 3273324 h 4724400"/>
                <a:gd name="connsiteX53" fmla="*/ 2002993 w 2590800"/>
                <a:gd name="connsiteY53" fmla="*/ 3392195 h 4724400"/>
                <a:gd name="connsiteX54" fmla="*/ 2103653 w 2590800"/>
                <a:gd name="connsiteY54" fmla="*/ 3385947 h 4724400"/>
                <a:gd name="connsiteX55" fmla="*/ 2319223 w 2590800"/>
                <a:gd name="connsiteY55" fmla="*/ 3170453 h 4724400"/>
                <a:gd name="connsiteX56" fmla="*/ 2325395 w 2590800"/>
                <a:gd name="connsiteY56" fmla="*/ 3069717 h 4724400"/>
                <a:gd name="connsiteX57" fmla="*/ 2052981 w 2590800"/>
                <a:gd name="connsiteY57" fmla="*/ 2967761 h 4724400"/>
                <a:gd name="connsiteX58" fmla="*/ 2163775 w 2590800"/>
                <a:gd name="connsiteY58" fmla="*/ 3110179 h 4724400"/>
                <a:gd name="connsiteX59" fmla="*/ 2043379 w 2590800"/>
                <a:gd name="connsiteY59" fmla="*/ 3230575 h 4724400"/>
                <a:gd name="connsiteX60" fmla="*/ 1900885 w 2590800"/>
                <a:gd name="connsiteY60" fmla="*/ 3119781 h 4724400"/>
                <a:gd name="connsiteX61" fmla="*/ 1811045 w 2590800"/>
                <a:gd name="connsiteY61" fmla="*/ 3117037 h 4724400"/>
                <a:gd name="connsiteX62" fmla="*/ 1464488 w 2590800"/>
                <a:gd name="connsiteY62" fmla="*/ 3260217 h 4724400"/>
                <a:gd name="connsiteX63" fmla="*/ 1402918 w 2590800"/>
                <a:gd name="connsiteY63" fmla="*/ 3325673 h 4724400"/>
                <a:gd name="connsiteX64" fmla="*/ 1380516 w 2590800"/>
                <a:gd name="connsiteY64" fmla="*/ 3505200 h 4724400"/>
                <a:gd name="connsiteX65" fmla="*/ 1210285 w 2590800"/>
                <a:gd name="connsiteY65" fmla="*/ 3505200 h 4724400"/>
                <a:gd name="connsiteX66" fmla="*/ 1187882 w 2590800"/>
                <a:gd name="connsiteY66" fmla="*/ 3325749 h 4724400"/>
                <a:gd name="connsiteX67" fmla="*/ 1126312 w 2590800"/>
                <a:gd name="connsiteY67" fmla="*/ 3260293 h 4724400"/>
                <a:gd name="connsiteX68" fmla="*/ 779755 w 2590800"/>
                <a:gd name="connsiteY68" fmla="*/ 3117114 h 4724400"/>
                <a:gd name="connsiteX69" fmla="*/ 689915 w 2590800"/>
                <a:gd name="connsiteY69" fmla="*/ 3119857 h 4724400"/>
                <a:gd name="connsiteX70" fmla="*/ 547421 w 2590800"/>
                <a:gd name="connsiteY70" fmla="*/ 3230651 h 4724400"/>
                <a:gd name="connsiteX71" fmla="*/ 427025 w 2590800"/>
                <a:gd name="connsiteY71" fmla="*/ 3110256 h 4724400"/>
                <a:gd name="connsiteX72" fmla="*/ 537820 w 2590800"/>
                <a:gd name="connsiteY72" fmla="*/ 2967838 h 4724400"/>
                <a:gd name="connsiteX73" fmla="*/ 540563 w 2590800"/>
                <a:gd name="connsiteY73" fmla="*/ 2877998 h 4724400"/>
                <a:gd name="connsiteX74" fmla="*/ 397307 w 2590800"/>
                <a:gd name="connsiteY74" fmla="*/ 2531364 h 4724400"/>
                <a:gd name="connsiteX75" fmla="*/ 331851 w 2590800"/>
                <a:gd name="connsiteY75" fmla="*/ 2469794 h 4724400"/>
                <a:gd name="connsiteX76" fmla="*/ 152400 w 2590800"/>
                <a:gd name="connsiteY76" fmla="*/ 2447316 h 4724400"/>
                <a:gd name="connsiteX77" fmla="*/ 152400 w 2590800"/>
                <a:gd name="connsiteY77" fmla="*/ 2277085 h 4724400"/>
                <a:gd name="connsiteX78" fmla="*/ 331851 w 2590800"/>
                <a:gd name="connsiteY78" fmla="*/ 2254682 h 4724400"/>
                <a:gd name="connsiteX79" fmla="*/ 397307 w 2590800"/>
                <a:gd name="connsiteY79" fmla="*/ 2193112 h 4724400"/>
                <a:gd name="connsiteX80" fmla="*/ 540563 w 2590800"/>
                <a:gd name="connsiteY80" fmla="*/ 1846555 h 4724400"/>
                <a:gd name="connsiteX81" fmla="*/ 537820 w 2590800"/>
                <a:gd name="connsiteY81" fmla="*/ 1756715 h 4724400"/>
                <a:gd name="connsiteX82" fmla="*/ 427025 w 2590800"/>
                <a:gd name="connsiteY82" fmla="*/ 1614297 h 4724400"/>
                <a:gd name="connsiteX83" fmla="*/ 547421 w 2590800"/>
                <a:gd name="connsiteY83" fmla="*/ 1493901 h 4724400"/>
                <a:gd name="connsiteX84" fmla="*/ 689839 w 2590800"/>
                <a:gd name="connsiteY84" fmla="*/ 1604696 h 4724400"/>
                <a:gd name="connsiteX85" fmla="*/ 779678 w 2590800"/>
                <a:gd name="connsiteY85" fmla="*/ 1607439 h 4724400"/>
                <a:gd name="connsiteX86" fmla="*/ 1126236 w 2590800"/>
                <a:gd name="connsiteY86" fmla="*/ 1464183 h 4724400"/>
                <a:gd name="connsiteX87" fmla="*/ 1187806 w 2590800"/>
                <a:gd name="connsiteY87" fmla="*/ 1398727 h 4724400"/>
                <a:gd name="connsiteX88" fmla="*/ 1210285 w 2590800"/>
                <a:gd name="connsiteY88" fmla="*/ 1219200 h 4724400"/>
                <a:gd name="connsiteX89" fmla="*/ 1380516 w 2590800"/>
                <a:gd name="connsiteY89" fmla="*/ 1219200 h 4724400"/>
                <a:gd name="connsiteX90" fmla="*/ 1402918 w 2590800"/>
                <a:gd name="connsiteY90" fmla="*/ 1398651 h 4724400"/>
                <a:gd name="connsiteX91" fmla="*/ 1464488 w 2590800"/>
                <a:gd name="connsiteY91" fmla="*/ 1464107 h 4724400"/>
                <a:gd name="connsiteX92" fmla="*/ 1811045 w 2590800"/>
                <a:gd name="connsiteY92" fmla="*/ 1607363 h 4724400"/>
                <a:gd name="connsiteX93" fmla="*/ 1900885 w 2590800"/>
                <a:gd name="connsiteY93" fmla="*/ 1604620 h 4724400"/>
                <a:gd name="connsiteX94" fmla="*/ 2043303 w 2590800"/>
                <a:gd name="connsiteY94" fmla="*/ 1493825 h 4724400"/>
                <a:gd name="connsiteX95" fmla="*/ 2163699 w 2590800"/>
                <a:gd name="connsiteY95" fmla="*/ 1614221 h 4724400"/>
                <a:gd name="connsiteX96" fmla="*/ 2052904 w 2590800"/>
                <a:gd name="connsiteY96" fmla="*/ 1756639 h 4724400"/>
                <a:gd name="connsiteX97" fmla="*/ 2050161 w 2590800"/>
                <a:gd name="connsiteY97" fmla="*/ 1846478 h 4724400"/>
                <a:gd name="connsiteX98" fmla="*/ 2193417 w 2590800"/>
                <a:gd name="connsiteY98" fmla="*/ 2193036 h 4724400"/>
                <a:gd name="connsiteX99" fmla="*/ 2258873 w 2590800"/>
                <a:gd name="connsiteY99" fmla="*/ 2254606 h 4724400"/>
                <a:gd name="connsiteX100" fmla="*/ 2438400 w 2590800"/>
                <a:gd name="connsiteY100" fmla="*/ 2277085 h 4724400"/>
                <a:gd name="connsiteX101" fmla="*/ 2438400 w 2590800"/>
                <a:gd name="connsiteY101" fmla="*/ 2447316 h 4724400"/>
                <a:gd name="connsiteX102" fmla="*/ 2258949 w 2590800"/>
                <a:gd name="connsiteY102" fmla="*/ 2469794 h 4724400"/>
                <a:gd name="connsiteX103" fmla="*/ 2193493 w 2590800"/>
                <a:gd name="connsiteY103" fmla="*/ 2531364 h 4724400"/>
                <a:gd name="connsiteX104" fmla="*/ 2050237 w 2590800"/>
                <a:gd name="connsiteY104" fmla="*/ 2877998 h 4724400"/>
                <a:gd name="connsiteX105" fmla="*/ 2052981 w 2590800"/>
                <a:gd name="connsiteY105" fmla="*/ 2967761 h 472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</a:cxnLst>
              <a:rect l="l" t="t" r="r" b="b"/>
              <a:pathLst>
                <a:path w="2590800" h="4724400">
                  <a:moveTo>
                    <a:pt x="2325395" y="3069717"/>
                  </a:moveTo>
                  <a:lnTo>
                    <a:pt x="2206447" y="2916860"/>
                  </a:lnTo>
                  <a:cubicBezTo>
                    <a:pt x="2263674" y="2823058"/>
                    <a:pt x="2305584" y="2721635"/>
                    <a:pt x="2331492" y="2614270"/>
                  </a:cubicBezTo>
                  <a:lnTo>
                    <a:pt x="2523973" y="2590191"/>
                  </a:lnTo>
                  <a:cubicBezTo>
                    <a:pt x="2562225" y="2585466"/>
                    <a:pt x="2590800" y="2553005"/>
                    <a:pt x="2590800" y="2514600"/>
                  </a:cubicBezTo>
                  <a:lnTo>
                    <a:pt x="2590800" y="2209800"/>
                  </a:lnTo>
                  <a:cubicBezTo>
                    <a:pt x="2590800" y="2171395"/>
                    <a:pt x="2562225" y="2138934"/>
                    <a:pt x="2524049" y="2134210"/>
                  </a:cubicBezTo>
                  <a:lnTo>
                    <a:pt x="2331568" y="2110130"/>
                  </a:lnTo>
                  <a:cubicBezTo>
                    <a:pt x="2305660" y="2002765"/>
                    <a:pt x="2263750" y="1901342"/>
                    <a:pt x="2206524" y="1807540"/>
                  </a:cubicBezTo>
                  <a:lnTo>
                    <a:pt x="2325472" y="1654683"/>
                  </a:lnTo>
                  <a:cubicBezTo>
                    <a:pt x="2349094" y="1624355"/>
                    <a:pt x="2346427" y="1581150"/>
                    <a:pt x="2319223" y="1554023"/>
                  </a:cubicBezTo>
                  <a:lnTo>
                    <a:pt x="2103653" y="1338453"/>
                  </a:lnTo>
                  <a:cubicBezTo>
                    <a:pt x="2076526" y="1311402"/>
                    <a:pt x="2033321" y="1308507"/>
                    <a:pt x="2002993" y="1332205"/>
                  </a:cubicBezTo>
                  <a:lnTo>
                    <a:pt x="1850136" y="1451153"/>
                  </a:lnTo>
                  <a:cubicBezTo>
                    <a:pt x="1756334" y="1393927"/>
                    <a:pt x="1654912" y="1352017"/>
                    <a:pt x="1547546" y="1326109"/>
                  </a:cubicBezTo>
                  <a:lnTo>
                    <a:pt x="1523467" y="1133627"/>
                  </a:lnTo>
                  <a:cubicBezTo>
                    <a:pt x="1518666" y="1095375"/>
                    <a:pt x="1486205" y="1066800"/>
                    <a:pt x="1447800" y="1066800"/>
                  </a:cubicBezTo>
                  <a:lnTo>
                    <a:pt x="1371600" y="1066800"/>
                  </a:lnTo>
                  <a:lnTo>
                    <a:pt x="1371600" y="0"/>
                  </a:lnTo>
                  <a:lnTo>
                    <a:pt x="1219200" y="0"/>
                  </a:lnTo>
                  <a:lnTo>
                    <a:pt x="1219200" y="1066800"/>
                  </a:lnTo>
                  <a:lnTo>
                    <a:pt x="1143000" y="1066800"/>
                  </a:lnTo>
                  <a:cubicBezTo>
                    <a:pt x="1104595" y="1066800"/>
                    <a:pt x="1072134" y="1095375"/>
                    <a:pt x="1067410" y="1133551"/>
                  </a:cubicBezTo>
                  <a:lnTo>
                    <a:pt x="1043330" y="1326032"/>
                  </a:lnTo>
                  <a:cubicBezTo>
                    <a:pt x="935965" y="1351941"/>
                    <a:pt x="834542" y="1393850"/>
                    <a:pt x="740740" y="1451077"/>
                  </a:cubicBezTo>
                  <a:lnTo>
                    <a:pt x="587883" y="1332128"/>
                  </a:lnTo>
                  <a:cubicBezTo>
                    <a:pt x="557555" y="1308430"/>
                    <a:pt x="514350" y="1311326"/>
                    <a:pt x="487223" y="1338377"/>
                  </a:cubicBezTo>
                  <a:lnTo>
                    <a:pt x="271653" y="1553947"/>
                  </a:lnTo>
                  <a:cubicBezTo>
                    <a:pt x="244450" y="1581074"/>
                    <a:pt x="241783" y="1624279"/>
                    <a:pt x="265405" y="1654607"/>
                  </a:cubicBezTo>
                  <a:lnTo>
                    <a:pt x="384353" y="1807464"/>
                  </a:lnTo>
                  <a:cubicBezTo>
                    <a:pt x="327127" y="1901266"/>
                    <a:pt x="285217" y="2002688"/>
                    <a:pt x="259309" y="2110054"/>
                  </a:cubicBezTo>
                  <a:lnTo>
                    <a:pt x="66827" y="2134134"/>
                  </a:lnTo>
                  <a:cubicBezTo>
                    <a:pt x="28575" y="2138934"/>
                    <a:pt x="0" y="2171395"/>
                    <a:pt x="0" y="2209800"/>
                  </a:cubicBezTo>
                  <a:lnTo>
                    <a:pt x="0" y="2514600"/>
                  </a:lnTo>
                  <a:cubicBezTo>
                    <a:pt x="0" y="2553005"/>
                    <a:pt x="28575" y="2585466"/>
                    <a:pt x="66751" y="2590191"/>
                  </a:cubicBezTo>
                  <a:lnTo>
                    <a:pt x="259232" y="2614270"/>
                  </a:lnTo>
                  <a:cubicBezTo>
                    <a:pt x="285140" y="2721635"/>
                    <a:pt x="327050" y="2822982"/>
                    <a:pt x="384277" y="2916860"/>
                  </a:cubicBezTo>
                  <a:lnTo>
                    <a:pt x="265328" y="3069717"/>
                  </a:lnTo>
                  <a:cubicBezTo>
                    <a:pt x="241706" y="3100045"/>
                    <a:pt x="244373" y="3143250"/>
                    <a:pt x="271577" y="3170377"/>
                  </a:cubicBezTo>
                  <a:lnTo>
                    <a:pt x="487147" y="3385871"/>
                  </a:lnTo>
                  <a:cubicBezTo>
                    <a:pt x="514274" y="3412998"/>
                    <a:pt x="557479" y="3415817"/>
                    <a:pt x="587807" y="3392119"/>
                  </a:cubicBezTo>
                  <a:lnTo>
                    <a:pt x="740664" y="3273247"/>
                  </a:lnTo>
                  <a:cubicBezTo>
                    <a:pt x="834466" y="3330474"/>
                    <a:pt x="935888" y="3372384"/>
                    <a:pt x="1043330" y="3398292"/>
                  </a:cubicBezTo>
                  <a:lnTo>
                    <a:pt x="1067410" y="3590773"/>
                  </a:lnTo>
                  <a:cubicBezTo>
                    <a:pt x="1072134" y="3628949"/>
                    <a:pt x="1104595" y="3657600"/>
                    <a:pt x="1143000" y="3657600"/>
                  </a:cubicBezTo>
                  <a:lnTo>
                    <a:pt x="1219200" y="3657600"/>
                  </a:lnTo>
                  <a:lnTo>
                    <a:pt x="1219200" y="4724400"/>
                  </a:lnTo>
                  <a:lnTo>
                    <a:pt x="1371600" y="4724400"/>
                  </a:lnTo>
                  <a:lnTo>
                    <a:pt x="1371600" y="3657600"/>
                  </a:lnTo>
                  <a:lnTo>
                    <a:pt x="1447800" y="3657600"/>
                  </a:lnTo>
                  <a:cubicBezTo>
                    <a:pt x="1486205" y="3657600"/>
                    <a:pt x="1518666" y="3628949"/>
                    <a:pt x="1523391" y="3590849"/>
                  </a:cubicBezTo>
                  <a:lnTo>
                    <a:pt x="1547470" y="3398368"/>
                  </a:lnTo>
                  <a:cubicBezTo>
                    <a:pt x="1654912" y="3372460"/>
                    <a:pt x="1756334" y="3330550"/>
                    <a:pt x="1850136" y="3273324"/>
                  </a:cubicBezTo>
                  <a:lnTo>
                    <a:pt x="2002993" y="3392195"/>
                  </a:lnTo>
                  <a:cubicBezTo>
                    <a:pt x="2033321" y="3415894"/>
                    <a:pt x="2076526" y="3413074"/>
                    <a:pt x="2103653" y="3385947"/>
                  </a:cubicBezTo>
                  <a:lnTo>
                    <a:pt x="2319223" y="3170453"/>
                  </a:lnTo>
                  <a:cubicBezTo>
                    <a:pt x="2346351" y="3143250"/>
                    <a:pt x="2349017" y="3100121"/>
                    <a:pt x="2325395" y="3069717"/>
                  </a:cubicBezTo>
                  <a:close/>
                  <a:moveTo>
                    <a:pt x="2052981" y="2967761"/>
                  </a:moveTo>
                  <a:lnTo>
                    <a:pt x="2163775" y="3110179"/>
                  </a:lnTo>
                  <a:lnTo>
                    <a:pt x="2043379" y="3230575"/>
                  </a:lnTo>
                  <a:lnTo>
                    <a:pt x="1900885" y="3119781"/>
                  </a:lnTo>
                  <a:cubicBezTo>
                    <a:pt x="1874673" y="3099207"/>
                    <a:pt x="1838325" y="3098292"/>
                    <a:pt x="1811045" y="3117037"/>
                  </a:cubicBezTo>
                  <a:cubicBezTo>
                    <a:pt x="1706575" y="3188589"/>
                    <a:pt x="1589989" y="3236748"/>
                    <a:pt x="1464488" y="3260217"/>
                  </a:cubicBezTo>
                  <a:cubicBezTo>
                    <a:pt x="1431950" y="3266313"/>
                    <a:pt x="1407033" y="3292831"/>
                    <a:pt x="1402918" y="3325673"/>
                  </a:cubicBezTo>
                  <a:lnTo>
                    <a:pt x="1380516" y="3505200"/>
                  </a:lnTo>
                  <a:lnTo>
                    <a:pt x="1210285" y="3505200"/>
                  </a:lnTo>
                  <a:lnTo>
                    <a:pt x="1187882" y="3325749"/>
                  </a:lnTo>
                  <a:cubicBezTo>
                    <a:pt x="1183767" y="3292831"/>
                    <a:pt x="1158850" y="3266389"/>
                    <a:pt x="1126312" y="3260293"/>
                  </a:cubicBezTo>
                  <a:cubicBezTo>
                    <a:pt x="1000811" y="3236824"/>
                    <a:pt x="884149" y="3188742"/>
                    <a:pt x="779755" y="3117114"/>
                  </a:cubicBezTo>
                  <a:cubicBezTo>
                    <a:pt x="752551" y="3098444"/>
                    <a:pt x="716128" y="3099435"/>
                    <a:pt x="689915" y="3119857"/>
                  </a:cubicBezTo>
                  <a:lnTo>
                    <a:pt x="547421" y="3230651"/>
                  </a:lnTo>
                  <a:lnTo>
                    <a:pt x="427025" y="3110256"/>
                  </a:lnTo>
                  <a:lnTo>
                    <a:pt x="537820" y="2967838"/>
                  </a:lnTo>
                  <a:cubicBezTo>
                    <a:pt x="558165" y="2941625"/>
                    <a:pt x="559308" y="2905354"/>
                    <a:pt x="540563" y="2877998"/>
                  </a:cubicBezTo>
                  <a:cubicBezTo>
                    <a:pt x="469011" y="2773451"/>
                    <a:pt x="420853" y="2656866"/>
                    <a:pt x="397307" y="2531364"/>
                  </a:cubicBezTo>
                  <a:cubicBezTo>
                    <a:pt x="391211" y="2498827"/>
                    <a:pt x="364769" y="2473909"/>
                    <a:pt x="331851" y="2469794"/>
                  </a:cubicBezTo>
                  <a:lnTo>
                    <a:pt x="152400" y="2447316"/>
                  </a:lnTo>
                  <a:lnTo>
                    <a:pt x="152400" y="2277085"/>
                  </a:lnTo>
                  <a:lnTo>
                    <a:pt x="331851" y="2254682"/>
                  </a:lnTo>
                  <a:cubicBezTo>
                    <a:pt x="364769" y="2250567"/>
                    <a:pt x="391211" y="2225726"/>
                    <a:pt x="397307" y="2193112"/>
                  </a:cubicBezTo>
                  <a:cubicBezTo>
                    <a:pt x="420853" y="2067687"/>
                    <a:pt x="469011" y="1951025"/>
                    <a:pt x="540563" y="1846555"/>
                  </a:cubicBezTo>
                  <a:cubicBezTo>
                    <a:pt x="559308" y="1819199"/>
                    <a:pt x="558165" y="1782928"/>
                    <a:pt x="537820" y="1756715"/>
                  </a:cubicBezTo>
                  <a:lnTo>
                    <a:pt x="427025" y="1614297"/>
                  </a:lnTo>
                  <a:lnTo>
                    <a:pt x="547421" y="1493901"/>
                  </a:lnTo>
                  <a:lnTo>
                    <a:pt x="689839" y="1604696"/>
                  </a:lnTo>
                  <a:cubicBezTo>
                    <a:pt x="715899" y="1624965"/>
                    <a:pt x="752246" y="1626108"/>
                    <a:pt x="779678" y="1607439"/>
                  </a:cubicBezTo>
                  <a:cubicBezTo>
                    <a:pt x="884225" y="1535887"/>
                    <a:pt x="1000811" y="1487729"/>
                    <a:pt x="1126236" y="1464183"/>
                  </a:cubicBezTo>
                  <a:cubicBezTo>
                    <a:pt x="1158850" y="1458087"/>
                    <a:pt x="1183691" y="1431646"/>
                    <a:pt x="1187806" y="1398727"/>
                  </a:cubicBezTo>
                  <a:lnTo>
                    <a:pt x="1210285" y="1219200"/>
                  </a:lnTo>
                  <a:lnTo>
                    <a:pt x="1380516" y="1219200"/>
                  </a:lnTo>
                  <a:lnTo>
                    <a:pt x="1402918" y="1398651"/>
                  </a:lnTo>
                  <a:cubicBezTo>
                    <a:pt x="1407033" y="1431570"/>
                    <a:pt x="1431874" y="1458011"/>
                    <a:pt x="1464488" y="1464107"/>
                  </a:cubicBezTo>
                  <a:cubicBezTo>
                    <a:pt x="1589913" y="1487653"/>
                    <a:pt x="1706575" y="1535811"/>
                    <a:pt x="1811045" y="1607363"/>
                  </a:cubicBezTo>
                  <a:cubicBezTo>
                    <a:pt x="1838401" y="1626032"/>
                    <a:pt x="1874673" y="1624889"/>
                    <a:pt x="1900885" y="1604620"/>
                  </a:cubicBezTo>
                  <a:lnTo>
                    <a:pt x="2043303" y="1493825"/>
                  </a:lnTo>
                  <a:lnTo>
                    <a:pt x="2163699" y="1614221"/>
                  </a:lnTo>
                  <a:lnTo>
                    <a:pt x="2052904" y="1756639"/>
                  </a:lnTo>
                  <a:cubicBezTo>
                    <a:pt x="2032559" y="1782851"/>
                    <a:pt x="2031416" y="1819123"/>
                    <a:pt x="2050161" y="1846478"/>
                  </a:cubicBezTo>
                  <a:cubicBezTo>
                    <a:pt x="2121713" y="1951025"/>
                    <a:pt x="2169871" y="2067611"/>
                    <a:pt x="2193417" y="2193036"/>
                  </a:cubicBezTo>
                  <a:cubicBezTo>
                    <a:pt x="2199513" y="2225650"/>
                    <a:pt x="2225955" y="2250491"/>
                    <a:pt x="2258873" y="2254606"/>
                  </a:cubicBezTo>
                  <a:lnTo>
                    <a:pt x="2438400" y="2277085"/>
                  </a:lnTo>
                  <a:lnTo>
                    <a:pt x="2438400" y="2447316"/>
                  </a:lnTo>
                  <a:lnTo>
                    <a:pt x="2258949" y="2469794"/>
                  </a:lnTo>
                  <a:cubicBezTo>
                    <a:pt x="2226031" y="2473909"/>
                    <a:pt x="2199589" y="2498827"/>
                    <a:pt x="2193493" y="2531364"/>
                  </a:cubicBezTo>
                  <a:cubicBezTo>
                    <a:pt x="2169948" y="2656789"/>
                    <a:pt x="2121789" y="2773451"/>
                    <a:pt x="2050237" y="2877998"/>
                  </a:cubicBezTo>
                  <a:cubicBezTo>
                    <a:pt x="2031568" y="2905277"/>
                    <a:pt x="2032635" y="2941625"/>
                    <a:pt x="2052981" y="2967761"/>
                  </a:cubicBezTo>
                  <a:close/>
                </a:path>
              </a:pathLst>
            </a:custGeom>
            <a:grpFill/>
            <a:ln w="7620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342905"/>
              <a:endParaRPr lang="ru-RU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29" name="Freeform: Shape 128">
              <a:extLst>
                <a:ext uri="{FF2B5EF4-FFF2-40B4-BE49-F238E27FC236}">
                  <a16:creationId xmlns:a16="http://schemas.microsoft.com/office/drawing/2014/main" id="{9FB8C047-5728-46EA-9926-F9C8646E67AE}"/>
                </a:ext>
              </a:extLst>
            </p:cNvPr>
            <p:cNvSpPr/>
            <p:nvPr/>
          </p:nvSpPr>
          <p:spPr>
            <a:xfrm>
              <a:off x="5957887" y="3017837"/>
              <a:ext cx="1524000" cy="1524000"/>
            </a:xfrm>
            <a:custGeom>
              <a:avLst/>
              <a:gdLst>
                <a:gd name="connsiteX0" fmla="*/ 762000 w 1524000"/>
                <a:gd name="connsiteY0" fmla="*/ 0 h 1524000"/>
                <a:gd name="connsiteX1" fmla="*/ 0 w 1524000"/>
                <a:gd name="connsiteY1" fmla="*/ 762000 h 1524000"/>
                <a:gd name="connsiteX2" fmla="*/ 762000 w 1524000"/>
                <a:gd name="connsiteY2" fmla="*/ 1524000 h 1524000"/>
                <a:gd name="connsiteX3" fmla="*/ 1524000 w 1524000"/>
                <a:gd name="connsiteY3" fmla="*/ 762000 h 1524000"/>
                <a:gd name="connsiteX4" fmla="*/ 762000 w 1524000"/>
                <a:gd name="connsiteY4" fmla="*/ 0 h 1524000"/>
                <a:gd name="connsiteX5" fmla="*/ 762000 w 1524000"/>
                <a:gd name="connsiteY5" fmla="*/ 1371600 h 1524000"/>
                <a:gd name="connsiteX6" fmla="*/ 152400 w 1524000"/>
                <a:gd name="connsiteY6" fmla="*/ 762000 h 1524000"/>
                <a:gd name="connsiteX7" fmla="*/ 762000 w 1524000"/>
                <a:gd name="connsiteY7" fmla="*/ 152400 h 1524000"/>
                <a:gd name="connsiteX8" fmla="*/ 1371600 w 1524000"/>
                <a:gd name="connsiteY8" fmla="*/ 762000 h 1524000"/>
                <a:gd name="connsiteX9" fmla="*/ 762000 w 1524000"/>
                <a:gd name="connsiteY9" fmla="*/ 1371600 h 152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524000" h="1524000">
                  <a:moveTo>
                    <a:pt x="762000" y="0"/>
                  </a:moveTo>
                  <a:cubicBezTo>
                    <a:pt x="341833" y="0"/>
                    <a:pt x="0" y="341833"/>
                    <a:pt x="0" y="762000"/>
                  </a:cubicBezTo>
                  <a:cubicBezTo>
                    <a:pt x="0" y="1182167"/>
                    <a:pt x="341833" y="1524000"/>
                    <a:pt x="762000" y="1524000"/>
                  </a:cubicBezTo>
                  <a:cubicBezTo>
                    <a:pt x="1182167" y="1524000"/>
                    <a:pt x="1524000" y="1182167"/>
                    <a:pt x="1524000" y="762000"/>
                  </a:cubicBezTo>
                  <a:cubicBezTo>
                    <a:pt x="1524000" y="341833"/>
                    <a:pt x="1182167" y="0"/>
                    <a:pt x="762000" y="0"/>
                  </a:cubicBezTo>
                  <a:close/>
                  <a:moveTo>
                    <a:pt x="762000" y="1371600"/>
                  </a:moveTo>
                  <a:cubicBezTo>
                    <a:pt x="425882" y="1371600"/>
                    <a:pt x="152400" y="1098118"/>
                    <a:pt x="152400" y="762000"/>
                  </a:cubicBezTo>
                  <a:cubicBezTo>
                    <a:pt x="152400" y="425882"/>
                    <a:pt x="425882" y="152400"/>
                    <a:pt x="762000" y="152400"/>
                  </a:cubicBezTo>
                  <a:cubicBezTo>
                    <a:pt x="1098118" y="152400"/>
                    <a:pt x="1371600" y="425882"/>
                    <a:pt x="1371600" y="762000"/>
                  </a:cubicBezTo>
                  <a:cubicBezTo>
                    <a:pt x="1371600" y="1098118"/>
                    <a:pt x="1098118" y="1371600"/>
                    <a:pt x="762000" y="1371600"/>
                  </a:cubicBezTo>
                  <a:close/>
                </a:path>
              </a:pathLst>
            </a:custGeom>
            <a:grpFill/>
            <a:ln w="7620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342905"/>
              <a:endParaRPr lang="ru-RU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0" name="Freeform: Shape 129">
              <a:extLst>
                <a:ext uri="{FF2B5EF4-FFF2-40B4-BE49-F238E27FC236}">
                  <a16:creationId xmlns:a16="http://schemas.microsoft.com/office/drawing/2014/main" id="{421E6134-D6BD-4FB5-A11A-339F5C44009E}"/>
                </a:ext>
              </a:extLst>
            </p:cNvPr>
            <p:cNvSpPr/>
            <p:nvPr/>
          </p:nvSpPr>
          <p:spPr>
            <a:xfrm>
              <a:off x="6948487" y="5075237"/>
              <a:ext cx="304800" cy="914400"/>
            </a:xfrm>
            <a:custGeom>
              <a:avLst/>
              <a:gdLst>
                <a:gd name="connsiteX0" fmla="*/ 152400 w 304800"/>
                <a:gd name="connsiteY0" fmla="*/ 281711 h 914400"/>
                <a:gd name="connsiteX1" fmla="*/ 152400 w 304800"/>
                <a:gd name="connsiteY1" fmla="*/ 0 h 914400"/>
                <a:gd name="connsiteX2" fmla="*/ 0 w 304800"/>
                <a:gd name="connsiteY2" fmla="*/ 0 h 914400"/>
                <a:gd name="connsiteX3" fmla="*/ 0 w 304800"/>
                <a:gd name="connsiteY3" fmla="*/ 304800 h 914400"/>
                <a:gd name="connsiteX4" fmla="*/ 12802 w 304800"/>
                <a:gd name="connsiteY4" fmla="*/ 347091 h 914400"/>
                <a:gd name="connsiteX5" fmla="*/ 152400 w 304800"/>
                <a:gd name="connsiteY5" fmla="*/ 556489 h 914400"/>
                <a:gd name="connsiteX6" fmla="*/ 152400 w 304800"/>
                <a:gd name="connsiteY6" fmla="*/ 914400 h 914400"/>
                <a:gd name="connsiteX7" fmla="*/ 304800 w 304800"/>
                <a:gd name="connsiteY7" fmla="*/ 914400 h 914400"/>
                <a:gd name="connsiteX8" fmla="*/ 304800 w 304800"/>
                <a:gd name="connsiteY8" fmla="*/ 533400 h 914400"/>
                <a:gd name="connsiteX9" fmla="*/ 291998 w 304800"/>
                <a:gd name="connsiteY9" fmla="*/ 491109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04800" h="914400">
                  <a:moveTo>
                    <a:pt x="152400" y="281711"/>
                  </a:moveTo>
                  <a:lnTo>
                    <a:pt x="152400" y="0"/>
                  </a:lnTo>
                  <a:lnTo>
                    <a:pt x="0" y="0"/>
                  </a:lnTo>
                  <a:lnTo>
                    <a:pt x="0" y="304800"/>
                  </a:lnTo>
                  <a:cubicBezTo>
                    <a:pt x="0" y="319811"/>
                    <a:pt x="4496" y="334594"/>
                    <a:pt x="12802" y="347091"/>
                  </a:cubicBezTo>
                  <a:lnTo>
                    <a:pt x="152400" y="556489"/>
                  </a:lnTo>
                  <a:lnTo>
                    <a:pt x="152400" y="914400"/>
                  </a:lnTo>
                  <a:lnTo>
                    <a:pt x="304800" y="914400"/>
                  </a:lnTo>
                  <a:lnTo>
                    <a:pt x="304800" y="533400"/>
                  </a:lnTo>
                  <a:cubicBezTo>
                    <a:pt x="304800" y="518389"/>
                    <a:pt x="300304" y="503606"/>
                    <a:pt x="291998" y="491109"/>
                  </a:cubicBezTo>
                  <a:close/>
                </a:path>
              </a:pathLst>
            </a:custGeom>
            <a:grpFill/>
            <a:ln w="7620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342905"/>
              <a:endParaRPr lang="ru-RU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1" name="Freeform: Shape 130">
              <a:extLst>
                <a:ext uri="{FF2B5EF4-FFF2-40B4-BE49-F238E27FC236}">
                  <a16:creationId xmlns:a16="http://schemas.microsoft.com/office/drawing/2014/main" id="{7D300260-BA7E-4191-A5F8-00528795AF13}"/>
                </a:ext>
              </a:extLst>
            </p:cNvPr>
            <p:cNvSpPr/>
            <p:nvPr/>
          </p:nvSpPr>
          <p:spPr>
            <a:xfrm>
              <a:off x="6186487" y="5075237"/>
              <a:ext cx="304800" cy="914400"/>
            </a:xfrm>
            <a:custGeom>
              <a:avLst/>
              <a:gdLst>
                <a:gd name="connsiteX0" fmla="*/ 152400 w 304800"/>
                <a:gd name="connsiteY0" fmla="*/ 281711 h 914400"/>
                <a:gd name="connsiteX1" fmla="*/ 12802 w 304800"/>
                <a:gd name="connsiteY1" fmla="*/ 491109 h 914400"/>
                <a:gd name="connsiteX2" fmla="*/ 0 w 304800"/>
                <a:gd name="connsiteY2" fmla="*/ 533400 h 914400"/>
                <a:gd name="connsiteX3" fmla="*/ 0 w 304800"/>
                <a:gd name="connsiteY3" fmla="*/ 914400 h 914400"/>
                <a:gd name="connsiteX4" fmla="*/ 152400 w 304800"/>
                <a:gd name="connsiteY4" fmla="*/ 914400 h 914400"/>
                <a:gd name="connsiteX5" fmla="*/ 152400 w 304800"/>
                <a:gd name="connsiteY5" fmla="*/ 556489 h 914400"/>
                <a:gd name="connsiteX6" fmla="*/ 291998 w 304800"/>
                <a:gd name="connsiteY6" fmla="*/ 347091 h 914400"/>
                <a:gd name="connsiteX7" fmla="*/ 304800 w 304800"/>
                <a:gd name="connsiteY7" fmla="*/ 304800 h 914400"/>
                <a:gd name="connsiteX8" fmla="*/ 304800 w 304800"/>
                <a:gd name="connsiteY8" fmla="*/ 0 h 914400"/>
                <a:gd name="connsiteX9" fmla="*/ 152400 w 304800"/>
                <a:gd name="connsiteY9" fmla="*/ 0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04800" h="914400">
                  <a:moveTo>
                    <a:pt x="152400" y="281711"/>
                  </a:moveTo>
                  <a:lnTo>
                    <a:pt x="12802" y="491109"/>
                  </a:lnTo>
                  <a:cubicBezTo>
                    <a:pt x="4496" y="503606"/>
                    <a:pt x="0" y="518389"/>
                    <a:pt x="0" y="533400"/>
                  </a:cubicBezTo>
                  <a:lnTo>
                    <a:pt x="0" y="914400"/>
                  </a:lnTo>
                  <a:lnTo>
                    <a:pt x="152400" y="914400"/>
                  </a:lnTo>
                  <a:lnTo>
                    <a:pt x="152400" y="556489"/>
                  </a:lnTo>
                  <a:lnTo>
                    <a:pt x="291998" y="347091"/>
                  </a:lnTo>
                  <a:cubicBezTo>
                    <a:pt x="300304" y="334594"/>
                    <a:pt x="304800" y="319811"/>
                    <a:pt x="304800" y="304800"/>
                  </a:cubicBezTo>
                  <a:lnTo>
                    <a:pt x="304800" y="0"/>
                  </a:lnTo>
                  <a:lnTo>
                    <a:pt x="152400" y="0"/>
                  </a:lnTo>
                  <a:close/>
                </a:path>
              </a:pathLst>
            </a:custGeom>
            <a:grpFill/>
            <a:ln w="7620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342905"/>
              <a:endParaRPr lang="ru-RU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2" name="Freeform: Shape 131">
              <a:extLst>
                <a:ext uri="{FF2B5EF4-FFF2-40B4-BE49-F238E27FC236}">
                  <a16:creationId xmlns:a16="http://schemas.microsoft.com/office/drawing/2014/main" id="{65FF4CA3-B59C-404F-94D9-E3337A77A2D7}"/>
                </a:ext>
              </a:extLst>
            </p:cNvPr>
            <p:cNvSpPr/>
            <p:nvPr/>
          </p:nvSpPr>
          <p:spPr>
            <a:xfrm>
              <a:off x="6948487" y="1570037"/>
              <a:ext cx="304800" cy="914400"/>
            </a:xfrm>
            <a:custGeom>
              <a:avLst/>
              <a:gdLst>
                <a:gd name="connsiteX0" fmla="*/ 152400 w 304800"/>
                <a:gd name="connsiteY0" fmla="*/ 632689 h 914400"/>
                <a:gd name="connsiteX1" fmla="*/ 291998 w 304800"/>
                <a:gd name="connsiteY1" fmla="*/ 423291 h 914400"/>
                <a:gd name="connsiteX2" fmla="*/ 304800 w 304800"/>
                <a:gd name="connsiteY2" fmla="*/ 381000 h 914400"/>
                <a:gd name="connsiteX3" fmla="*/ 304800 w 304800"/>
                <a:gd name="connsiteY3" fmla="*/ 0 h 914400"/>
                <a:gd name="connsiteX4" fmla="*/ 152400 w 304800"/>
                <a:gd name="connsiteY4" fmla="*/ 0 h 914400"/>
                <a:gd name="connsiteX5" fmla="*/ 152400 w 304800"/>
                <a:gd name="connsiteY5" fmla="*/ 357911 h 914400"/>
                <a:gd name="connsiteX6" fmla="*/ 12802 w 304800"/>
                <a:gd name="connsiteY6" fmla="*/ 567309 h 914400"/>
                <a:gd name="connsiteX7" fmla="*/ 0 w 304800"/>
                <a:gd name="connsiteY7" fmla="*/ 609600 h 914400"/>
                <a:gd name="connsiteX8" fmla="*/ 0 w 304800"/>
                <a:gd name="connsiteY8" fmla="*/ 914400 h 914400"/>
                <a:gd name="connsiteX9" fmla="*/ 152400 w 304800"/>
                <a:gd name="connsiteY9" fmla="*/ 914400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04800" h="914400">
                  <a:moveTo>
                    <a:pt x="152400" y="632689"/>
                  </a:moveTo>
                  <a:lnTo>
                    <a:pt x="291998" y="423291"/>
                  </a:lnTo>
                  <a:cubicBezTo>
                    <a:pt x="300304" y="410794"/>
                    <a:pt x="304800" y="396011"/>
                    <a:pt x="304800" y="381000"/>
                  </a:cubicBezTo>
                  <a:lnTo>
                    <a:pt x="304800" y="0"/>
                  </a:lnTo>
                  <a:lnTo>
                    <a:pt x="152400" y="0"/>
                  </a:lnTo>
                  <a:lnTo>
                    <a:pt x="152400" y="357911"/>
                  </a:lnTo>
                  <a:lnTo>
                    <a:pt x="12802" y="567309"/>
                  </a:lnTo>
                  <a:cubicBezTo>
                    <a:pt x="4496" y="579806"/>
                    <a:pt x="0" y="594589"/>
                    <a:pt x="0" y="609600"/>
                  </a:cubicBezTo>
                  <a:lnTo>
                    <a:pt x="0" y="914400"/>
                  </a:lnTo>
                  <a:lnTo>
                    <a:pt x="152400" y="914400"/>
                  </a:lnTo>
                  <a:close/>
                </a:path>
              </a:pathLst>
            </a:custGeom>
            <a:grpFill/>
            <a:ln w="7620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342905"/>
              <a:endParaRPr lang="ru-RU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33" name="Freeform: Shape 132">
              <a:extLst>
                <a:ext uri="{FF2B5EF4-FFF2-40B4-BE49-F238E27FC236}">
                  <a16:creationId xmlns:a16="http://schemas.microsoft.com/office/drawing/2014/main" id="{E7202CA8-2660-4EC6-858D-25F43DB2C8DD}"/>
                </a:ext>
              </a:extLst>
            </p:cNvPr>
            <p:cNvSpPr/>
            <p:nvPr/>
          </p:nvSpPr>
          <p:spPr>
            <a:xfrm>
              <a:off x="6186487" y="1570037"/>
              <a:ext cx="304800" cy="914400"/>
            </a:xfrm>
            <a:custGeom>
              <a:avLst/>
              <a:gdLst>
                <a:gd name="connsiteX0" fmla="*/ 152400 w 304800"/>
                <a:gd name="connsiteY0" fmla="*/ 632689 h 914400"/>
                <a:gd name="connsiteX1" fmla="*/ 152400 w 304800"/>
                <a:gd name="connsiteY1" fmla="*/ 914400 h 914400"/>
                <a:gd name="connsiteX2" fmla="*/ 304800 w 304800"/>
                <a:gd name="connsiteY2" fmla="*/ 914400 h 914400"/>
                <a:gd name="connsiteX3" fmla="*/ 304800 w 304800"/>
                <a:gd name="connsiteY3" fmla="*/ 609600 h 914400"/>
                <a:gd name="connsiteX4" fmla="*/ 291998 w 304800"/>
                <a:gd name="connsiteY4" fmla="*/ 567309 h 914400"/>
                <a:gd name="connsiteX5" fmla="*/ 152400 w 304800"/>
                <a:gd name="connsiteY5" fmla="*/ 357911 h 914400"/>
                <a:gd name="connsiteX6" fmla="*/ 152400 w 304800"/>
                <a:gd name="connsiteY6" fmla="*/ 0 h 914400"/>
                <a:gd name="connsiteX7" fmla="*/ 0 w 304800"/>
                <a:gd name="connsiteY7" fmla="*/ 0 h 914400"/>
                <a:gd name="connsiteX8" fmla="*/ 0 w 304800"/>
                <a:gd name="connsiteY8" fmla="*/ 381000 h 914400"/>
                <a:gd name="connsiteX9" fmla="*/ 12802 w 304800"/>
                <a:gd name="connsiteY9" fmla="*/ 423291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04800" h="914400">
                  <a:moveTo>
                    <a:pt x="152400" y="632689"/>
                  </a:moveTo>
                  <a:lnTo>
                    <a:pt x="152400" y="914400"/>
                  </a:lnTo>
                  <a:lnTo>
                    <a:pt x="304800" y="914400"/>
                  </a:lnTo>
                  <a:lnTo>
                    <a:pt x="304800" y="609600"/>
                  </a:lnTo>
                  <a:cubicBezTo>
                    <a:pt x="304800" y="594589"/>
                    <a:pt x="300304" y="579806"/>
                    <a:pt x="291998" y="567309"/>
                  </a:cubicBezTo>
                  <a:lnTo>
                    <a:pt x="152400" y="357911"/>
                  </a:lnTo>
                  <a:lnTo>
                    <a:pt x="152400" y="0"/>
                  </a:lnTo>
                  <a:lnTo>
                    <a:pt x="0" y="0"/>
                  </a:lnTo>
                  <a:lnTo>
                    <a:pt x="0" y="381000"/>
                  </a:lnTo>
                  <a:cubicBezTo>
                    <a:pt x="0" y="396011"/>
                    <a:pt x="4496" y="410794"/>
                    <a:pt x="12802" y="423291"/>
                  </a:cubicBezTo>
                  <a:close/>
                </a:path>
              </a:pathLst>
            </a:custGeom>
            <a:grpFill/>
            <a:ln w="7620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342905"/>
              <a:endParaRPr lang="ru-RU">
                <a:solidFill>
                  <a:prstClr val="black"/>
                </a:solidFill>
                <a:latin typeface="Calibri" panose="020F0502020204030204"/>
              </a:endParaRPr>
            </a:p>
          </p:txBody>
        </p:sp>
      </p:grpSp>
      <p:grpSp>
        <p:nvGrpSpPr>
          <p:cNvPr id="141" name="Graphic 305">
            <a:extLst>
              <a:ext uri="{FF2B5EF4-FFF2-40B4-BE49-F238E27FC236}">
                <a16:creationId xmlns:a16="http://schemas.microsoft.com/office/drawing/2014/main" id="{B76B67BF-C1EC-467A-A7BE-B114B7760023}"/>
              </a:ext>
            </a:extLst>
          </p:cNvPr>
          <p:cNvGrpSpPr/>
          <p:nvPr/>
        </p:nvGrpSpPr>
        <p:grpSpPr>
          <a:xfrm>
            <a:off x="3690326" y="4936078"/>
            <a:ext cx="283042" cy="283042"/>
            <a:chOff x="4281487" y="1341437"/>
            <a:chExt cx="4876800" cy="4876800"/>
          </a:xfrm>
          <a:solidFill>
            <a:srgbClr val="E94E14"/>
          </a:solidFill>
        </p:grpSpPr>
        <p:sp>
          <p:nvSpPr>
            <p:cNvPr id="142" name="Freeform: Shape 141">
              <a:extLst>
                <a:ext uri="{FF2B5EF4-FFF2-40B4-BE49-F238E27FC236}">
                  <a16:creationId xmlns:a16="http://schemas.microsoft.com/office/drawing/2014/main" id="{A8FE6672-96D3-4D88-9B87-73754BC03ECA}"/>
                </a:ext>
              </a:extLst>
            </p:cNvPr>
            <p:cNvSpPr/>
            <p:nvPr/>
          </p:nvSpPr>
          <p:spPr>
            <a:xfrm>
              <a:off x="4281487" y="1422713"/>
              <a:ext cx="4876790" cy="3088633"/>
            </a:xfrm>
            <a:custGeom>
              <a:avLst/>
              <a:gdLst>
                <a:gd name="connsiteX0" fmla="*/ 4551598 w 4876790"/>
                <a:gd name="connsiteY0" fmla="*/ 0 h 3088633"/>
                <a:gd name="connsiteX1" fmla="*/ 325203 w 4876790"/>
                <a:gd name="connsiteY1" fmla="*/ 0 h 3088633"/>
                <a:gd name="connsiteX2" fmla="*/ 0 w 4876790"/>
                <a:gd name="connsiteY2" fmla="*/ 325203 h 3088633"/>
                <a:gd name="connsiteX3" fmla="*/ 0 w 4876790"/>
                <a:gd name="connsiteY3" fmla="*/ 3007357 h 3088633"/>
                <a:gd name="connsiteX4" fmla="*/ 81277 w 4876790"/>
                <a:gd name="connsiteY4" fmla="*/ 3088634 h 3088633"/>
                <a:gd name="connsiteX5" fmla="*/ 4795514 w 4876790"/>
                <a:gd name="connsiteY5" fmla="*/ 3088634 h 3088633"/>
                <a:gd name="connsiteX6" fmla="*/ 4876791 w 4876790"/>
                <a:gd name="connsiteY6" fmla="*/ 3007357 h 3088633"/>
                <a:gd name="connsiteX7" fmla="*/ 4876791 w 4876790"/>
                <a:gd name="connsiteY7" fmla="*/ 325203 h 3088633"/>
                <a:gd name="connsiteX8" fmla="*/ 4551598 w 4876790"/>
                <a:gd name="connsiteY8" fmla="*/ 0 h 3088633"/>
                <a:gd name="connsiteX9" fmla="*/ 4714237 w 4876790"/>
                <a:gd name="connsiteY9" fmla="*/ 2926080 h 3088633"/>
                <a:gd name="connsiteX10" fmla="*/ 162563 w 4876790"/>
                <a:gd name="connsiteY10" fmla="*/ 2926080 h 3088633"/>
                <a:gd name="connsiteX11" fmla="*/ 162563 w 4876790"/>
                <a:gd name="connsiteY11" fmla="*/ 325203 h 3088633"/>
                <a:gd name="connsiteX12" fmla="*/ 325203 w 4876790"/>
                <a:gd name="connsiteY12" fmla="*/ 162563 h 3088633"/>
                <a:gd name="connsiteX13" fmla="*/ 4551598 w 4876790"/>
                <a:gd name="connsiteY13" fmla="*/ 162563 h 3088633"/>
                <a:gd name="connsiteX14" fmla="*/ 4714237 w 4876790"/>
                <a:gd name="connsiteY14" fmla="*/ 325203 h 3088633"/>
                <a:gd name="connsiteX15" fmla="*/ 4714237 w 4876790"/>
                <a:gd name="connsiteY15" fmla="*/ 2926080 h 30886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876790" h="3088633">
                  <a:moveTo>
                    <a:pt x="4551598" y="0"/>
                  </a:moveTo>
                  <a:lnTo>
                    <a:pt x="325203" y="0"/>
                  </a:lnTo>
                  <a:cubicBezTo>
                    <a:pt x="145894" y="0"/>
                    <a:pt x="0" y="145904"/>
                    <a:pt x="0" y="325203"/>
                  </a:cubicBezTo>
                  <a:lnTo>
                    <a:pt x="0" y="3007357"/>
                  </a:lnTo>
                  <a:cubicBezTo>
                    <a:pt x="0" y="3052220"/>
                    <a:pt x="36414" y="3088634"/>
                    <a:pt x="81277" y="3088634"/>
                  </a:cubicBezTo>
                  <a:lnTo>
                    <a:pt x="4795514" y="3088634"/>
                  </a:lnTo>
                  <a:cubicBezTo>
                    <a:pt x="4840377" y="3088634"/>
                    <a:pt x="4876791" y="3052220"/>
                    <a:pt x="4876791" y="3007357"/>
                  </a:cubicBezTo>
                  <a:lnTo>
                    <a:pt x="4876791" y="325203"/>
                  </a:lnTo>
                  <a:cubicBezTo>
                    <a:pt x="4876800" y="145904"/>
                    <a:pt x="4730906" y="0"/>
                    <a:pt x="4551598" y="0"/>
                  </a:cubicBezTo>
                  <a:close/>
                  <a:moveTo>
                    <a:pt x="4714237" y="2926080"/>
                  </a:moveTo>
                  <a:lnTo>
                    <a:pt x="162563" y="2926080"/>
                  </a:lnTo>
                  <a:lnTo>
                    <a:pt x="162563" y="325203"/>
                  </a:lnTo>
                  <a:cubicBezTo>
                    <a:pt x="162563" y="235468"/>
                    <a:pt x="235553" y="162563"/>
                    <a:pt x="325203" y="162563"/>
                  </a:cubicBezTo>
                  <a:lnTo>
                    <a:pt x="4551598" y="162563"/>
                  </a:lnTo>
                  <a:cubicBezTo>
                    <a:pt x="4641247" y="162563"/>
                    <a:pt x="4714237" y="235468"/>
                    <a:pt x="4714237" y="325203"/>
                  </a:cubicBezTo>
                  <a:lnTo>
                    <a:pt x="4714237" y="2926080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342905"/>
              <a:endParaRPr lang="ru-RU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3" name="Freeform: Shape 142">
              <a:extLst>
                <a:ext uri="{FF2B5EF4-FFF2-40B4-BE49-F238E27FC236}">
                  <a16:creationId xmlns:a16="http://schemas.microsoft.com/office/drawing/2014/main" id="{1CB55CBC-4BB7-4177-A4A7-B479CE6F792A}"/>
                </a:ext>
              </a:extLst>
            </p:cNvPr>
            <p:cNvSpPr/>
            <p:nvPr/>
          </p:nvSpPr>
          <p:spPr>
            <a:xfrm>
              <a:off x="4281487" y="4348793"/>
              <a:ext cx="4876800" cy="812796"/>
            </a:xfrm>
            <a:custGeom>
              <a:avLst/>
              <a:gdLst>
                <a:gd name="connsiteX0" fmla="*/ 4795524 w 4876800"/>
                <a:gd name="connsiteY0" fmla="*/ 0 h 812796"/>
                <a:gd name="connsiteX1" fmla="*/ 81277 w 4876800"/>
                <a:gd name="connsiteY1" fmla="*/ 0 h 812796"/>
                <a:gd name="connsiteX2" fmla="*/ 0 w 4876800"/>
                <a:gd name="connsiteY2" fmla="*/ 81277 h 812796"/>
                <a:gd name="connsiteX3" fmla="*/ 0 w 4876800"/>
                <a:gd name="connsiteY3" fmla="*/ 487594 h 812796"/>
                <a:gd name="connsiteX4" fmla="*/ 325203 w 4876800"/>
                <a:gd name="connsiteY4" fmla="*/ 812797 h 812796"/>
                <a:gd name="connsiteX5" fmla="*/ 4551598 w 4876800"/>
                <a:gd name="connsiteY5" fmla="*/ 812797 h 812796"/>
                <a:gd name="connsiteX6" fmla="*/ 4876800 w 4876800"/>
                <a:gd name="connsiteY6" fmla="*/ 487594 h 812796"/>
                <a:gd name="connsiteX7" fmla="*/ 4876800 w 4876800"/>
                <a:gd name="connsiteY7" fmla="*/ 81277 h 812796"/>
                <a:gd name="connsiteX8" fmla="*/ 4795524 w 4876800"/>
                <a:gd name="connsiteY8" fmla="*/ 0 h 812796"/>
                <a:gd name="connsiteX9" fmla="*/ 4714237 w 4876800"/>
                <a:gd name="connsiteY9" fmla="*/ 487604 h 812796"/>
                <a:gd name="connsiteX10" fmla="*/ 4551598 w 4876800"/>
                <a:gd name="connsiteY10" fmla="*/ 650243 h 812796"/>
                <a:gd name="connsiteX11" fmla="*/ 325203 w 4876800"/>
                <a:gd name="connsiteY11" fmla="*/ 650243 h 812796"/>
                <a:gd name="connsiteX12" fmla="*/ 162563 w 4876800"/>
                <a:gd name="connsiteY12" fmla="*/ 487604 h 812796"/>
                <a:gd name="connsiteX13" fmla="*/ 162563 w 4876800"/>
                <a:gd name="connsiteY13" fmla="*/ 162563 h 812796"/>
                <a:gd name="connsiteX14" fmla="*/ 4714247 w 4876800"/>
                <a:gd name="connsiteY14" fmla="*/ 162563 h 812796"/>
                <a:gd name="connsiteX15" fmla="*/ 4714247 w 4876800"/>
                <a:gd name="connsiteY15" fmla="*/ 487604 h 8127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4876800" h="812796">
                  <a:moveTo>
                    <a:pt x="4795524" y="0"/>
                  </a:moveTo>
                  <a:lnTo>
                    <a:pt x="81277" y="0"/>
                  </a:lnTo>
                  <a:cubicBezTo>
                    <a:pt x="36414" y="0"/>
                    <a:pt x="0" y="36414"/>
                    <a:pt x="0" y="81277"/>
                  </a:cubicBezTo>
                  <a:lnTo>
                    <a:pt x="0" y="487594"/>
                  </a:lnTo>
                  <a:cubicBezTo>
                    <a:pt x="0" y="666902"/>
                    <a:pt x="145894" y="812797"/>
                    <a:pt x="325203" y="812797"/>
                  </a:cubicBezTo>
                  <a:lnTo>
                    <a:pt x="4551598" y="812797"/>
                  </a:lnTo>
                  <a:cubicBezTo>
                    <a:pt x="4730906" y="812797"/>
                    <a:pt x="4876800" y="666902"/>
                    <a:pt x="4876800" y="487594"/>
                  </a:cubicBezTo>
                  <a:lnTo>
                    <a:pt x="4876800" y="81277"/>
                  </a:lnTo>
                  <a:cubicBezTo>
                    <a:pt x="4876800" y="36414"/>
                    <a:pt x="4840386" y="0"/>
                    <a:pt x="4795524" y="0"/>
                  </a:cubicBezTo>
                  <a:close/>
                  <a:moveTo>
                    <a:pt x="4714237" y="487604"/>
                  </a:moveTo>
                  <a:cubicBezTo>
                    <a:pt x="4714237" y="577339"/>
                    <a:pt x="4641247" y="650243"/>
                    <a:pt x="4551598" y="650243"/>
                  </a:cubicBezTo>
                  <a:lnTo>
                    <a:pt x="325203" y="650243"/>
                  </a:lnTo>
                  <a:cubicBezTo>
                    <a:pt x="235553" y="650243"/>
                    <a:pt x="162563" y="577339"/>
                    <a:pt x="162563" y="487604"/>
                  </a:cubicBezTo>
                  <a:lnTo>
                    <a:pt x="162563" y="162563"/>
                  </a:lnTo>
                  <a:lnTo>
                    <a:pt x="4714247" y="162563"/>
                  </a:lnTo>
                  <a:lnTo>
                    <a:pt x="4714247" y="48760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342905"/>
              <a:endParaRPr lang="ru-RU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4" name="Freeform: Shape 143">
              <a:extLst>
                <a:ext uri="{FF2B5EF4-FFF2-40B4-BE49-F238E27FC236}">
                  <a16:creationId xmlns:a16="http://schemas.microsoft.com/office/drawing/2014/main" id="{A0225D35-AC81-4F7C-BF99-3595140B4BAC}"/>
                </a:ext>
              </a:extLst>
            </p:cNvPr>
            <p:cNvSpPr/>
            <p:nvPr/>
          </p:nvSpPr>
          <p:spPr>
            <a:xfrm>
              <a:off x="6394770" y="4673920"/>
              <a:ext cx="650233" cy="162553"/>
            </a:xfrm>
            <a:custGeom>
              <a:avLst/>
              <a:gdLst>
                <a:gd name="connsiteX0" fmla="*/ 568957 w 650233"/>
                <a:gd name="connsiteY0" fmla="*/ 0 h 162553"/>
                <a:gd name="connsiteX1" fmla="*/ 81277 w 650233"/>
                <a:gd name="connsiteY1" fmla="*/ 0 h 162553"/>
                <a:gd name="connsiteX2" fmla="*/ 0 w 650233"/>
                <a:gd name="connsiteY2" fmla="*/ 81277 h 162553"/>
                <a:gd name="connsiteX3" fmla="*/ 81277 w 650233"/>
                <a:gd name="connsiteY3" fmla="*/ 162554 h 162553"/>
                <a:gd name="connsiteX4" fmla="*/ 568957 w 650233"/>
                <a:gd name="connsiteY4" fmla="*/ 162554 h 162553"/>
                <a:gd name="connsiteX5" fmla="*/ 650234 w 650233"/>
                <a:gd name="connsiteY5" fmla="*/ 81277 h 162553"/>
                <a:gd name="connsiteX6" fmla="*/ 568957 w 650233"/>
                <a:gd name="connsiteY6" fmla="*/ 0 h 1625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50233" h="162553">
                  <a:moveTo>
                    <a:pt x="568957" y="0"/>
                  </a:moveTo>
                  <a:lnTo>
                    <a:pt x="81277" y="0"/>
                  </a:lnTo>
                  <a:cubicBezTo>
                    <a:pt x="36414" y="0"/>
                    <a:pt x="0" y="36414"/>
                    <a:pt x="0" y="81277"/>
                  </a:cubicBezTo>
                  <a:cubicBezTo>
                    <a:pt x="0" y="126139"/>
                    <a:pt x="36414" y="162554"/>
                    <a:pt x="81277" y="162554"/>
                  </a:cubicBezTo>
                  <a:lnTo>
                    <a:pt x="568957" y="162554"/>
                  </a:lnTo>
                  <a:cubicBezTo>
                    <a:pt x="613820" y="162554"/>
                    <a:pt x="650234" y="126139"/>
                    <a:pt x="650234" y="81277"/>
                  </a:cubicBezTo>
                  <a:cubicBezTo>
                    <a:pt x="650234" y="36414"/>
                    <a:pt x="613820" y="0"/>
                    <a:pt x="568957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342905"/>
              <a:endParaRPr lang="ru-RU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5" name="Freeform: Shape 144">
              <a:extLst>
                <a:ext uri="{FF2B5EF4-FFF2-40B4-BE49-F238E27FC236}">
                  <a16:creationId xmlns:a16="http://schemas.microsoft.com/office/drawing/2014/main" id="{EA07B24E-0C2C-4AB3-A117-60C7D14DC8C5}"/>
                </a:ext>
              </a:extLst>
            </p:cNvPr>
            <p:cNvSpPr/>
            <p:nvPr/>
          </p:nvSpPr>
          <p:spPr>
            <a:xfrm>
              <a:off x="4606613" y="1747840"/>
              <a:ext cx="4226556" cy="2763516"/>
            </a:xfrm>
            <a:custGeom>
              <a:avLst/>
              <a:gdLst>
                <a:gd name="connsiteX0" fmla="*/ 4145271 w 4226556"/>
                <a:gd name="connsiteY0" fmla="*/ 0 h 2763516"/>
                <a:gd name="connsiteX1" fmla="*/ 81277 w 4226556"/>
                <a:gd name="connsiteY1" fmla="*/ 0 h 2763516"/>
                <a:gd name="connsiteX2" fmla="*/ 0 w 4226556"/>
                <a:gd name="connsiteY2" fmla="*/ 81277 h 2763516"/>
                <a:gd name="connsiteX3" fmla="*/ 0 w 4226556"/>
                <a:gd name="connsiteY3" fmla="*/ 2682240 h 2763516"/>
                <a:gd name="connsiteX4" fmla="*/ 81277 w 4226556"/>
                <a:gd name="connsiteY4" fmla="*/ 2763517 h 2763516"/>
                <a:gd name="connsiteX5" fmla="*/ 4145280 w 4226556"/>
                <a:gd name="connsiteY5" fmla="*/ 2763517 h 2763516"/>
                <a:gd name="connsiteX6" fmla="*/ 4226557 w 4226556"/>
                <a:gd name="connsiteY6" fmla="*/ 2682240 h 2763516"/>
                <a:gd name="connsiteX7" fmla="*/ 4226557 w 4226556"/>
                <a:gd name="connsiteY7" fmla="*/ 81277 h 2763516"/>
                <a:gd name="connsiteX8" fmla="*/ 4145271 w 4226556"/>
                <a:gd name="connsiteY8" fmla="*/ 0 h 2763516"/>
                <a:gd name="connsiteX9" fmla="*/ 4063994 w 4226556"/>
                <a:gd name="connsiteY9" fmla="*/ 2600954 h 2763516"/>
                <a:gd name="connsiteX10" fmla="*/ 162554 w 4226556"/>
                <a:gd name="connsiteY10" fmla="*/ 2600954 h 2763516"/>
                <a:gd name="connsiteX11" fmla="*/ 162554 w 4226556"/>
                <a:gd name="connsiteY11" fmla="*/ 162554 h 2763516"/>
                <a:gd name="connsiteX12" fmla="*/ 4063994 w 4226556"/>
                <a:gd name="connsiteY12" fmla="*/ 162554 h 2763516"/>
                <a:gd name="connsiteX13" fmla="*/ 4063994 w 4226556"/>
                <a:gd name="connsiteY13" fmla="*/ 2600954 h 27635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226556" h="2763516">
                  <a:moveTo>
                    <a:pt x="4145271" y="0"/>
                  </a:moveTo>
                  <a:lnTo>
                    <a:pt x="81277" y="0"/>
                  </a:lnTo>
                  <a:cubicBezTo>
                    <a:pt x="36414" y="0"/>
                    <a:pt x="0" y="36414"/>
                    <a:pt x="0" y="81277"/>
                  </a:cubicBezTo>
                  <a:lnTo>
                    <a:pt x="0" y="2682240"/>
                  </a:lnTo>
                  <a:cubicBezTo>
                    <a:pt x="0" y="2727103"/>
                    <a:pt x="36414" y="2763517"/>
                    <a:pt x="81277" y="2763517"/>
                  </a:cubicBezTo>
                  <a:lnTo>
                    <a:pt x="4145280" y="2763517"/>
                  </a:lnTo>
                  <a:cubicBezTo>
                    <a:pt x="4190143" y="2763517"/>
                    <a:pt x="4226557" y="2727103"/>
                    <a:pt x="4226557" y="2682240"/>
                  </a:cubicBezTo>
                  <a:lnTo>
                    <a:pt x="4226557" y="81277"/>
                  </a:lnTo>
                  <a:cubicBezTo>
                    <a:pt x="4226557" y="36414"/>
                    <a:pt x="4190143" y="0"/>
                    <a:pt x="4145271" y="0"/>
                  </a:cubicBezTo>
                  <a:close/>
                  <a:moveTo>
                    <a:pt x="4063994" y="2600954"/>
                  </a:moveTo>
                  <a:lnTo>
                    <a:pt x="162554" y="2600954"/>
                  </a:lnTo>
                  <a:lnTo>
                    <a:pt x="162554" y="162554"/>
                  </a:lnTo>
                  <a:lnTo>
                    <a:pt x="4063994" y="162554"/>
                  </a:lnTo>
                  <a:lnTo>
                    <a:pt x="4063994" y="260095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342905"/>
              <a:endParaRPr lang="ru-RU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6" name="Freeform: Shape 145">
              <a:extLst>
                <a:ext uri="{FF2B5EF4-FFF2-40B4-BE49-F238E27FC236}">
                  <a16:creationId xmlns:a16="http://schemas.microsoft.com/office/drawing/2014/main" id="{45358A45-0C19-4800-8763-79B46BC9B5B2}"/>
                </a:ext>
              </a:extLst>
            </p:cNvPr>
            <p:cNvSpPr/>
            <p:nvPr/>
          </p:nvSpPr>
          <p:spPr>
            <a:xfrm>
              <a:off x="5419410" y="5649280"/>
              <a:ext cx="2600963" cy="487680"/>
            </a:xfrm>
            <a:custGeom>
              <a:avLst/>
              <a:gdLst>
                <a:gd name="connsiteX0" fmla="*/ 2357114 w 2600963"/>
                <a:gd name="connsiteY0" fmla="*/ 0 h 487680"/>
                <a:gd name="connsiteX1" fmla="*/ 243840 w 2600963"/>
                <a:gd name="connsiteY1" fmla="*/ 0 h 487680"/>
                <a:gd name="connsiteX2" fmla="*/ 0 w 2600963"/>
                <a:gd name="connsiteY2" fmla="*/ 243840 h 487680"/>
                <a:gd name="connsiteX3" fmla="*/ 243840 w 2600963"/>
                <a:gd name="connsiteY3" fmla="*/ 487680 h 487680"/>
                <a:gd name="connsiteX4" fmla="*/ 2357123 w 2600963"/>
                <a:gd name="connsiteY4" fmla="*/ 487680 h 487680"/>
                <a:gd name="connsiteX5" fmla="*/ 2600963 w 2600963"/>
                <a:gd name="connsiteY5" fmla="*/ 243840 h 487680"/>
                <a:gd name="connsiteX6" fmla="*/ 2357114 w 2600963"/>
                <a:gd name="connsiteY6" fmla="*/ 0 h 487680"/>
                <a:gd name="connsiteX7" fmla="*/ 2357114 w 2600963"/>
                <a:gd name="connsiteY7" fmla="*/ 325117 h 487680"/>
                <a:gd name="connsiteX8" fmla="*/ 243840 w 2600963"/>
                <a:gd name="connsiteY8" fmla="*/ 325117 h 487680"/>
                <a:gd name="connsiteX9" fmla="*/ 162563 w 2600963"/>
                <a:gd name="connsiteY9" fmla="*/ 243840 h 487680"/>
                <a:gd name="connsiteX10" fmla="*/ 243840 w 2600963"/>
                <a:gd name="connsiteY10" fmla="*/ 162563 h 487680"/>
                <a:gd name="connsiteX11" fmla="*/ 2357123 w 2600963"/>
                <a:gd name="connsiteY11" fmla="*/ 162563 h 487680"/>
                <a:gd name="connsiteX12" fmla="*/ 2438400 w 2600963"/>
                <a:gd name="connsiteY12" fmla="*/ 243840 h 487680"/>
                <a:gd name="connsiteX13" fmla="*/ 2357114 w 2600963"/>
                <a:gd name="connsiteY13" fmla="*/ 325117 h 4876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600963" h="487680">
                  <a:moveTo>
                    <a:pt x="2357114" y="0"/>
                  </a:moveTo>
                  <a:lnTo>
                    <a:pt x="243840" y="0"/>
                  </a:lnTo>
                  <a:cubicBezTo>
                    <a:pt x="109404" y="0"/>
                    <a:pt x="0" y="109404"/>
                    <a:pt x="0" y="243840"/>
                  </a:cubicBezTo>
                  <a:cubicBezTo>
                    <a:pt x="0" y="378276"/>
                    <a:pt x="109404" y="487680"/>
                    <a:pt x="243840" y="487680"/>
                  </a:cubicBezTo>
                  <a:lnTo>
                    <a:pt x="2357123" y="487680"/>
                  </a:lnTo>
                  <a:cubicBezTo>
                    <a:pt x="2491559" y="487680"/>
                    <a:pt x="2600963" y="378276"/>
                    <a:pt x="2600963" y="243840"/>
                  </a:cubicBezTo>
                  <a:cubicBezTo>
                    <a:pt x="2600963" y="109404"/>
                    <a:pt x="2491550" y="0"/>
                    <a:pt x="2357114" y="0"/>
                  </a:cubicBezTo>
                  <a:close/>
                  <a:moveTo>
                    <a:pt x="2357114" y="325117"/>
                  </a:moveTo>
                  <a:lnTo>
                    <a:pt x="243840" y="325117"/>
                  </a:lnTo>
                  <a:cubicBezTo>
                    <a:pt x="198977" y="325117"/>
                    <a:pt x="162563" y="288627"/>
                    <a:pt x="162563" y="243840"/>
                  </a:cubicBezTo>
                  <a:cubicBezTo>
                    <a:pt x="162563" y="199054"/>
                    <a:pt x="198977" y="162563"/>
                    <a:pt x="243840" y="162563"/>
                  </a:cubicBezTo>
                  <a:lnTo>
                    <a:pt x="2357123" y="162563"/>
                  </a:lnTo>
                  <a:cubicBezTo>
                    <a:pt x="2401986" y="162563"/>
                    <a:pt x="2438400" y="199054"/>
                    <a:pt x="2438400" y="243840"/>
                  </a:cubicBezTo>
                  <a:cubicBezTo>
                    <a:pt x="2438400" y="288627"/>
                    <a:pt x="2401986" y="325117"/>
                    <a:pt x="2357114" y="325117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342905"/>
              <a:endParaRPr lang="ru-RU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7" name="Freeform: Shape 146">
              <a:extLst>
                <a:ext uri="{FF2B5EF4-FFF2-40B4-BE49-F238E27FC236}">
                  <a16:creationId xmlns:a16="http://schemas.microsoft.com/office/drawing/2014/main" id="{8FE5CBC9-F210-41FC-AA79-229F29D3C3CE}"/>
                </a:ext>
              </a:extLst>
            </p:cNvPr>
            <p:cNvSpPr/>
            <p:nvPr/>
          </p:nvSpPr>
          <p:spPr>
            <a:xfrm>
              <a:off x="5744536" y="4999046"/>
              <a:ext cx="1950710" cy="812787"/>
            </a:xfrm>
            <a:custGeom>
              <a:avLst/>
              <a:gdLst>
                <a:gd name="connsiteX0" fmla="*/ 1869434 w 1950710"/>
                <a:gd name="connsiteY0" fmla="*/ 650234 h 812787"/>
                <a:gd name="connsiteX1" fmla="*/ 1463031 w 1950710"/>
                <a:gd name="connsiteY1" fmla="*/ 81277 h 812787"/>
                <a:gd name="connsiteX2" fmla="*/ 1381754 w 1950710"/>
                <a:gd name="connsiteY2" fmla="*/ 0 h 812787"/>
                <a:gd name="connsiteX3" fmla="*/ 568957 w 1950710"/>
                <a:gd name="connsiteY3" fmla="*/ 0 h 812787"/>
                <a:gd name="connsiteX4" fmla="*/ 487680 w 1950710"/>
                <a:gd name="connsiteY4" fmla="*/ 81277 h 812787"/>
                <a:gd name="connsiteX5" fmla="*/ 81277 w 1950710"/>
                <a:gd name="connsiteY5" fmla="*/ 650234 h 812787"/>
                <a:gd name="connsiteX6" fmla="*/ 0 w 1950710"/>
                <a:gd name="connsiteY6" fmla="*/ 731510 h 812787"/>
                <a:gd name="connsiteX7" fmla="*/ 81277 w 1950710"/>
                <a:gd name="connsiteY7" fmla="*/ 812787 h 812787"/>
                <a:gd name="connsiteX8" fmla="*/ 1869434 w 1950710"/>
                <a:gd name="connsiteY8" fmla="*/ 812787 h 812787"/>
                <a:gd name="connsiteX9" fmla="*/ 1950710 w 1950710"/>
                <a:gd name="connsiteY9" fmla="*/ 731510 h 812787"/>
                <a:gd name="connsiteX10" fmla="*/ 1869434 w 1950710"/>
                <a:gd name="connsiteY10" fmla="*/ 650234 h 812787"/>
                <a:gd name="connsiteX11" fmla="*/ 477184 w 1950710"/>
                <a:gd name="connsiteY11" fmla="*/ 650234 h 812787"/>
                <a:gd name="connsiteX12" fmla="*/ 648033 w 1950710"/>
                <a:gd name="connsiteY12" fmla="*/ 162553 h 812787"/>
                <a:gd name="connsiteX13" fmla="*/ 1302744 w 1950710"/>
                <a:gd name="connsiteY13" fmla="*/ 162553 h 812787"/>
                <a:gd name="connsiteX14" fmla="*/ 1473594 w 1950710"/>
                <a:gd name="connsiteY14" fmla="*/ 650234 h 812787"/>
                <a:gd name="connsiteX15" fmla="*/ 477184 w 1950710"/>
                <a:gd name="connsiteY15" fmla="*/ 650234 h 8127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950710" h="812787">
                  <a:moveTo>
                    <a:pt x="1869434" y="650234"/>
                  </a:moveTo>
                  <a:cubicBezTo>
                    <a:pt x="1599743" y="650234"/>
                    <a:pt x="1463031" y="458819"/>
                    <a:pt x="1463031" y="81277"/>
                  </a:cubicBezTo>
                  <a:cubicBezTo>
                    <a:pt x="1463031" y="36414"/>
                    <a:pt x="1426617" y="0"/>
                    <a:pt x="1381754" y="0"/>
                  </a:cubicBezTo>
                  <a:lnTo>
                    <a:pt x="568957" y="0"/>
                  </a:lnTo>
                  <a:cubicBezTo>
                    <a:pt x="524094" y="0"/>
                    <a:pt x="487680" y="36414"/>
                    <a:pt x="487680" y="81277"/>
                  </a:cubicBezTo>
                  <a:cubicBezTo>
                    <a:pt x="487680" y="458819"/>
                    <a:pt x="350968" y="650234"/>
                    <a:pt x="81277" y="650234"/>
                  </a:cubicBezTo>
                  <a:cubicBezTo>
                    <a:pt x="36414" y="650234"/>
                    <a:pt x="0" y="686648"/>
                    <a:pt x="0" y="731510"/>
                  </a:cubicBezTo>
                  <a:cubicBezTo>
                    <a:pt x="0" y="776373"/>
                    <a:pt x="36414" y="812787"/>
                    <a:pt x="81277" y="812787"/>
                  </a:cubicBezTo>
                  <a:lnTo>
                    <a:pt x="1869434" y="812787"/>
                  </a:lnTo>
                  <a:cubicBezTo>
                    <a:pt x="1914296" y="812787"/>
                    <a:pt x="1950710" y="776373"/>
                    <a:pt x="1950710" y="731510"/>
                  </a:cubicBezTo>
                  <a:cubicBezTo>
                    <a:pt x="1950710" y="686648"/>
                    <a:pt x="1914296" y="650234"/>
                    <a:pt x="1869434" y="650234"/>
                  </a:cubicBezTo>
                  <a:close/>
                  <a:moveTo>
                    <a:pt x="477184" y="650234"/>
                  </a:moveTo>
                  <a:cubicBezTo>
                    <a:pt x="577244" y="539372"/>
                    <a:pt x="636165" y="374285"/>
                    <a:pt x="648033" y="162553"/>
                  </a:cubicBezTo>
                  <a:lnTo>
                    <a:pt x="1302744" y="162553"/>
                  </a:lnTo>
                  <a:cubicBezTo>
                    <a:pt x="1314526" y="374285"/>
                    <a:pt x="1373457" y="539372"/>
                    <a:pt x="1473594" y="650234"/>
                  </a:cubicBezTo>
                  <a:lnTo>
                    <a:pt x="477184" y="650234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342905"/>
              <a:endParaRPr lang="ru-RU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8" name="Freeform: Shape 147">
              <a:extLst>
                <a:ext uri="{FF2B5EF4-FFF2-40B4-BE49-F238E27FC236}">
                  <a16:creationId xmlns:a16="http://schemas.microsoft.com/office/drawing/2014/main" id="{9C233722-4A51-4652-9259-9A05F53FE3BD}"/>
                </a:ext>
              </a:extLst>
            </p:cNvPr>
            <p:cNvSpPr/>
            <p:nvPr/>
          </p:nvSpPr>
          <p:spPr>
            <a:xfrm>
              <a:off x="7126827" y="3129576"/>
              <a:ext cx="1062375" cy="1056653"/>
            </a:xfrm>
            <a:custGeom>
              <a:avLst/>
              <a:gdLst>
                <a:gd name="connsiteX0" fmla="*/ 1038545 w 1062375"/>
                <a:gd name="connsiteY0" fmla="*/ 687970 h 1056653"/>
                <a:gd name="connsiteX1" fmla="*/ 842340 w 1062375"/>
                <a:gd name="connsiteY1" fmla="*/ 491764 h 1056653"/>
                <a:gd name="connsiteX2" fmla="*/ 951496 w 1062375"/>
                <a:gd name="connsiteY2" fmla="*/ 382608 h 1056653"/>
                <a:gd name="connsiteX3" fmla="*/ 972870 w 1062375"/>
                <a:gd name="connsiteY3" fmla="*/ 305227 h 1056653"/>
                <a:gd name="connsiteX4" fmla="*/ 917435 w 1062375"/>
                <a:gd name="connsiteY4" fmla="*/ 247277 h 1056653"/>
                <a:gd name="connsiteX5" fmla="*/ 104638 w 1062375"/>
                <a:gd name="connsiteY5" fmla="*/ 3437 h 1056653"/>
                <a:gd name="connsiteX6" fmla="*/ 23847 w 1062375"/>
                <a:gd name="connsiteY6" fmla="*/ 23839 h 1056653"/>
                <a:gd name="connsiteX7" fmla="*/ 3444 w 1062375"/>
                <a:gd name="connsiteY7" fmla="*/ 104630 h 1056653"/>
                <a:gd name="connsiteX8" fmla="*/ 247285 w 1062375"/>
                <a:gd name="connsiteY8" fmla="*/ 917427 h 1056653"/>
                <a:gd name="connsiteX9" fmla="*/ 305235 w 1062375"/>
                <a:gd name="connsiteY9" fmla="*/ 972939 h 1056653"/>
                <a:gd name="connsiteX10" fmla="*/ 382616 w 1062375"/>
                <a:gd name="connsiteY10" fmla="*/ 951565 h 1056653"/>
                <a:gd name="connsiteX11" fmla="*/ 497545 w 1062375"/>
                <a:gd name="connsiteY11" fmla="*/ 836550 h 1056653"/>
                <a:gd name="connsiteX12" fmla="*/ 693750 w 1062375"/>
                <a:gd name="connsiteY12" fmla="*/ 1032841 h 1056653"/>
                <a:gd name="connsiteX13" fmla="*/ 751214 w 1062375"/>
                <a:gd name="connsiteY13" fmla="*/ 1056654 h 1056653"/>
                <a:gd name="connsiteX14" fmla="*/ 808678 w 1062375"/>
                <a:gd name="connsiteY14" fmla="*/ 1032841 h 1056653"/>
                <a:gd name="connsiteX15" fmla="*/ 1038536 w 1062375"/>
                <a:gd name="connsiteY15" fmla="*/ 802898 h 1056653"/>
                <a:gd name="connsiteX16" fmla="*/ 1038545 w 1062375"/>
                <a:gd name="connsiteY16" fmla="*/ 687970 h 1056653"/>
                <a:gd name="connsiteX17" fmla="*/ 751214 w 1062375"/>
                <a:gd name="connsiteY17" fmla="*/ 860448 h 1056653"/>
                <a:gd name="connsiteX18" fmla="*/ 572563 w 1062375"/>
                <a:gd name="connsiteY18" fmla="*/ 681712 h 1056653"/>
                <a:gd name="connsiteX19" fmla="*/ 497545 w 1062375"/>
                <a:gd name="connsiteY19" fmla="*/ 650660 h 1056653"/>
                <a:gd name="connsiteX20" fmla="*/ 422526 w 1062375"/>
                <a:gd name="connsiteY20" fmla="*/ 681626 h 1056653"/>
                <a:gd name="connsiteX21" fmla="*/ 363842 w 1062375"/>
                <a:gd name="connsiteY21" fmla="*/ 740310 h 1056653"/>
                <a:gd name="connsiteX22" fmla="*/ 202498 w 1062375"/>
                <a:gd name="connsiteY22" fmla="*/ 202480 h 1056653"/>
                <a:gd name="connsiteX23" fmla="*/ 740327 w 1062375"/>
                <a:gd name="connsiteY23" fmla="*/ 363824 h 1056653"/>
                <a:gd name="connsiteX24" fmla="*/ 677414 w 1062375"/>
                <a:gd name="connsiteY24" fmla="*/ 426737 h 1056653"/>
                <a:gd name="connsiteX25" fmla="*/ 650592 w 1062375"/>
                <a:gd name="connsiteY25" fmla="*/ 491764 h 1056653"/>
                <a:gd name="connsiteX26" fmla="*/ 677576 w 1062375"/>
                <a:gd name="connsiteY26" fmla="*/ 556868 h 1056653"/>
                <a:gd name="connsiteX27" fmla="*/ 866143 w 1062375"/>
                <a:gd name="connsiteY27" fmla="*/ 745434 h 1056653"/>
                <a:gd name="connsiteX28" fmla="*/ 751214 w 1062375"/>
                <a:gd name="connsiteY28" fmla="*/ 860448 h 1056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1062375" h="1056653">
                  <a:moveTo>
                    <a:pt x="1038545" y="687970"/>
                  </a:moveTo>
                  <a:lnTo>
                    <a:pt x="842340" y="491764"/>
                  </a:lnTo>
                  <a:lnTo>
                    <a:pt x="951496" y="382608"/>
                  </a:lnTo>
                  <a:cubicBezTo>
                    <a:pt x="971737" y="362367"/>
                    <a:pt x="979862" y="332944"/>
                    <a:pt x="972870" y="305227"/>
                  </a:cubicBezTo>
                  <a:cubicBezTo>
                    <a:pt x="965879" y="277509"/>
                    <a:pt x="944829" y="255563"/>
                    <a:pt x="917435" y="247277"/>
                  </a:cubicBezTo>
                  <a:lnTo>
                    <a:pt x="104638" y="3437"/>
                  </a:lnTo>
                  <a:cubicBezTo>
                    <a:pt x="75949" y="-5184"/>
                    <a:pt x="44983" y="2703"/>
                    <a:pt x="23847" y="23839"/>
                  </a:cubicBezTo>
                  <a:cubicBezTo>
                    <a:pt x="2635" y="44975"/>
                    <a:pt x="-5166" y="76017"/>
                    <a:pt x="3444" y="104630"/>
                  </a:cubicBezTo>
                  <a:lnTo>
                    <a:pt x="247285" y="917427"/>
                  </a:lnTo>
                  <a:cubicBezTo>
                    <a:pt x="255495" y="944897"/>
                    <a:pt x="277517" y="965947"/>
                    <a:pt x="305235" y="972939"/>
                  </a:cubicBezTo>
                  <a:cubicBezTo>
                    <a:pt x="332867" y="979768"/>
                    <a:pt x="362375" y="971796"/>
                    <a:pt x="382616" y="951565"/>
                  </a:cubicBezTo>
                  <a:lnTo>
                    <a:pt x="497545" y="836550"/>
                  </a:lnTo>
                  <a:lnTo>
                    <a:pt x="693750" y="1032841"/>
                  </a:lnTo>
                  <a:cubicBezTo>
                    <a:pt x="708952" y="1048119"/>
                    <a:pt x="729678" y="1056654"/>
                    <a:pt x="751214" y="1056654"/>
                  </a:cubicBezTo>
                  <a:cubicBezTo>
                    <a:pt x="772750" y="1056654"/>
                    <a:pt x="793477" y="1048119"/>
                    <a:pt x="808678" y="1032841"/>
                  </a:cubicBezTo>
                  <a:lnTo>
                    <a:pt x="1038536" y="802898"/>
                  </a:lnTo>
                  <a:cubicBezTo>
                    <a:pt x="1070321" y="771123"/>
                    <a:pt x="1070321" y="719755"/>
                    <a:pt x="1038545" y="687970"/>
                  </a:cubicBezTo>
                  <a:close/>
                  <a:moveTo>
                    <a:pt x="751214" y="860448"/>
                  </a:moveTo>
                  <a:lnTo>
                    <a:pt x="572563" y="681712"/>
                  </a:lnTo>
                  <a:cubicBezTo>
                    <a:pt x="551837" y="660986"/>
                    <a:pt x="524691" y="650660"/>
                    <a:pt x="497545" y="650660"/>
                  </a:cubicBezTo>
                  <a:cubicBezTo>
                    <a:pt x="470312" y="650660"/>
                    <a:pt x="443166" y="661062"/>
                    <a:pt x="422526" y="681626"/>
                  </a:cubicBezTo>
                  <a:lnTo>
                    <a:pt x="363842" y="740310"/>
                  </a:lnTo>
                  <a:lnTo>
                    <a:pt x="202498" y="202480"/>
                  </a:lnTo>
                  <a:lnTo>
                    <a:pt x="740327" y="363824"/>
                  </a:lnTo>
                  <a:lnTo>
                    <a:pt x="677414" y="426737"/>
                  </a:lnTo>
                  <a:cubicBezTo>
                    <a:pt x="660098" y="444130"/>
                    <a:pt x="650592" y="467218"/>
                    <a:pt x="650592" y="491764"/>
                  </a:cubicBezTo>
                  <a:cubicBezTo>
                    <a:pt x="650592" y="516396"/>
                    <a:pt x="660184" y="539637"/>
                    <a:pt x="677576" y="556868"/>
                  </a:cubicBezTo>
                  <a:lnTo>
                    <a:pt x="866143" y="745434"/>
                  </a:lnTo>
                  <a:lnTo>
                    <a:pt x="751214" y="860448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342905"/>
              <a:endParaRPr lang="ru-RU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49" name="Freeform: Shape 148">
              <a:extLst>
                <a:ext uri="{FF2B5EF4-FFF2-40B4-BE49-F238E27FC236}">
                  <a16:creationId xmlns:a16="http://schemas.microsoft.com/office/drawing/2014/main" id="{DE9CC855-AAEF-4791-99A1-24912DBFB129}"/>
                </a:ext>
              </a:extLst>
            </p:cNvPr>
            <p:cNvSpPr/>
            <p:nvPr/>
          </p:nvSpPr>
          <p:spPr>
            <a:xfrm>
              <a:off x="5338133" y="2072957"/>
              <a:ext cx="2438390" cy="568956"/>
            </a:xfrm>
            <a:custGeom>
              <a:avLst/>
              <a:gdLst>
                <a:gd name="connsiteX0" fmla="*/ 2357114 w 2438390"/>
                <a:gd name="connsiteY0" fmla="*/ 0 h 568956"/>
                <a:gd name="connsiteX1" fmla="*/ 81277 w 2438390"/>
                <a:gd name="connsiteY1" fmla="*/ 0 h 568956"/>
                <a:gd name="connsiteX2" fmla="*/ 0 w 2438390"/>
                <a:gd name="connsiteY2" fmla="*/ 81277 h 568956"/>
                <a:gd name="connsiteX3" fmla="*/ 0 w 2438390"/>
                <a:gd name="connsiteY3" fmla="*/ 487680 h 568956"/>
                <a:gd name="connsiteX4" fmla="*/ 81277 w 2438390"/>
                <a:gd name="connsiteY4" fmla="*/ 568957 h 568956"/>
                <a:gd name="connsiteX5" fmla="*/ 2357114 w 2438390"/>
                <a:gd name="connsiteY5" fmla="*/ 568957 h 568956"/>
                <a:gd name="connsiteX6" fmla="*/ 2438391 w 2438390"/>
                <a:gd name="connsiteY6" fmla="*/ 487680 h 568956"/>
                <a:gd name="connsiteX7" fmla="*/ 2438391 w 2438390"/>
                <a:gd name="connsiteY7" fmla="*/ 81277 h 568956"/>
                <a:gd name="connsiteX8" fmla="*/ 2357114 w 2438390"/>
                <a:gd name="connsiteY8" fmla="*/ 0 h 568956"/>
                <a:gd name="connsiteX9" fmla="*/ 2275837 w 2438390"/>
                <a:gd name="connsiteY9" fmla="*/ 406403 h 568956"/>
                <a:gd name="connsiteX10" fmla="*/ 162554 w 2438390"/>
                <a:gd name="connsiteY10" fmla="*/ 406403 h 568956"/>
                <a:gd name="connsiteX11" fmla="*/ 162554 w 2438390"/>
                <a:gd name="connsiteY11" fmla="*/ 162563 h 568956"/>
                <a:gd name="connsiteX12" fmla="*/ 2275837 w 2438390"/>
                <a:gd name="connsiteY12" fmla="*/ 162563 h 568956"/>
                <a:gd name="connsiteX13" fmla="*/ 2275837 w 2438390"/>
                <a:gd name="connsiteY13" fmla="*/ 406403 h 5689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438390" h="568956">
                  <a:moveTo>
                    <a:pt x="2357114" y="0"/>
                  </a:moveTo>
                  <a:lnTo>
                    <a:pt x="81277" y="0"/>
                  </a:lnTo>
                  <a:cubicBezTo>
                    <a:pt x="36414" y="0"/>
                    <a:pt x="0" y="36414"/>
                    <a:pt x="0" y="81277"/>
                  </a:cubicBezTo>
                  <a:lnTo>
                    <a:pt x="0" y="487680"/>
                  </a:lnTo>
                  <a:cubicBezTo>
                    <a:pt x="0" y="532543"/>
                    <a:pt x="36414" y="568957"/>
                    <a:pt x="81277" y="568957"/>
                  </a:cubicBezTo>
                  <a:lnTo>
                    <a:pt x="2357114" y="568957"/>
                  </a:lnTo>
                  <a:cubicBezTo>
                    <a:pt x="2401976" y="568957"/>
                    <a:pt x="2438391" y="532543"/>
                    <a:pt x="2438391" y="487680"/>
                  </a:cubicBezTo>
                  <a:lnTo>
                    <a:pt x="2438391" y="81277"/>
                  </a:lnTo>
                  <a:cubicBezTo>
                    <a:pt x="2438391" y="36414"/>
                    <a:pt x="2401976" y="0"/>
                    <a:pt x="2357114" y="0"/>
                  </a:cubicBezTo>
                  <a:close/>
                  <a:moveTo>
                    <a:pt x="2275837" y="406403"/>
                  </a:moveTo>
                  <a:lnTo>
                    <a:pt x="162554" y="406403"/>
                  </a:lnTo>
                  <a:lnTo>
                    <a:pt x="162554" y="162563"/>
                  </a:lnTo>
                  <a:lnTo>
                    <a:pt x="2275837" y="162563"/>
                  </a:lnTo>
                  <a:lnTo>
                    <a:pt x="2275837" y="40640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342905"/>
              <a:endParaRPr lang="ru-RU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50" name="Freeform: Shape 149">
              <a:extLst>
                <a:ext uri="{FF2B5EF4-FFF2-40B4-BE49-F238E27FC236}">
                  <a16:creationId xmlns:a16="http://schemas.microsoft.com/office/drawing/2014/main" id="{83BDE145-F07C-48F1-A3BC-0E72292A9FEA}"/>
                </a:ext>
              </a:extLst>
            </p:cNvPr>
            <p:cNvSpPr/>
            <p:nvPr/>
          </p:nvSpPr>
          <p:spPr>
            <a:xfrm>
              <a:off x="5663250" y="2967040"/>
              <a:ext cx="812796" cy="487670"/>
            </a:xfrm>
            <a:custGeom>
              <a:avLst/>
              <a:gdLst>
                <a:gd name="connsiteX0" fmla="*/ 731520 w 812796"/>
                <a:gd name="connsiteY0" fmla="*/ 0 h 487670"/>
                <a:gd name="connsiteX1" fmla="*/ 81277 w 812796"/>
                <a:gd name="connsiteY1" fmla="*/ 0 h 487670"/>
                <a:gd name="connsiteX2" fmla="*/ 0 w 812796"/>
                <a:gd name="connsiteY2" fmla="*/ 81277 h 487670"/>
                <a:gd name="connsiteX3" fmla="*/ 0 w 812796"/>
                <a:gd name="connsiteY3" fmla="*/ 406394 h 487670"/>
                <a:gd name="connsiteX4" fmla="*/ 81277 w 812796"/>
                <a:gd name="connsiteY4" fmla="*/ 487670 h 487670"/>
                <a:gd name="connsiteX5" fmla="*/ 731520 w 812796"/>
                <a:gd name="connsiteY5" fmla="*/ 487670 h 487670"/>
                <a:gd name="connsiteX6" fmla="*/ 812797 w 812796"/>
                <a:gd name="connsiteY6" fmla="*/ 406394 h 487670"/>
                <a:gd name="connsiteX7" fmla="*/ 812797 w 812796"/>
                <a:gd name="connsiteY7" fmla="*/ 81277 h 487670"/>
                <a:gd name="connsiteX8" fmla="*/ 731520 w 812796"/>
                <a:gd name="connsiteY8" fmla="*/ 0 h 487670"/>
                <a:gd name="connsiteX9" fmla="*/ 650234 w 812796"/>
                <a:gd name="connsiteY9" fmla="*/ 325117 h 487670"/>
                <a:gd name="connsiteX10" fmla="*/ 162554 w 812796"/>
                <a:gd name="connsiteY10" fmla="*/ 325117 h 487670"/>
                <a:gd name="connsiteX11" fmla="*/ 162554 w 812796"/>
                <a:gd name="connsiteY11" fmla="*/ 162554 h 487670"/>
                <a:gd name="connsiteX12" fmla="*/ 650234 w 812796"/>
                <a:gd name="connsiteY12" fmla="*/ 162554 h 487670"/>
                <a:gd name="connsiteX13" fmla="*/ 650234 w 812796"/>
                <a:gd name="connsiteY13" fmla="*/ 325117 h 4876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812796" h="487670">
                  <a:moveTo>
                    <a:pt x="731520" y="0"/>
                  </a:moveTo>
                  <a:lnTo>
                    <a:pt x="81277" y="0"/>
                  </a:lnTo>
                  <a:cubicBezTo>
                    <a:pt x="36414" y="0"/>
                    <a:pt x="0" y="36414"/>
                    <a:pt x="0" y="81277"/>
                  </a:cubicBezTo>
                  <a:lnTo>
                    <a:pt x="0" y="406394"/>
                  </a:lnTo>
                  <a:cubicBezTo>
                    <a:pt x="0" y="451256"/>
                    <a:pt x="36414" y="487670"/>
                    <a:pt x="81277" y="487670"/>
                  </a:cubicBezTo>
                  <a:lnTo>
                    <a:pt x="731520" y="487670"/>
                  </a:lnTo>
                  <a:cubicBezTo>
                    <a:pt x="776383" y="487670"/>
                    <a:pt x="812797" y="451256"/>
                    <a:pt x="812797" y="406394"/>
                  </a:cubicBezTo>
                  <a:lnTo>
                    <a:pt x="812797" y="81277"/>
                  </a:lnTo>
                  <a:cubicBezTo>
                    <a:pt x="812797" y="36414"/>
                    <a:pt x="776383" y="0"/>
                    <a:pt x="731520" y="0"/>
                  </a:cubicBezTo>
                  <a:close/>
                  <a:moveTo>
                    <a:pt x="650234" y="325117"/>
                  </a:moveTo>
                  <a:lnTo>
                    <a:pt x="162554" y="325117"/>
                  </a:lnTo>
                  <a:lnTo>
                    <a:pt x="162554" y="162554"/>
                  </a:lnTo>
                  <a:lnTo>
                    <a:pt x="650234" y="162554"/>
                  </a:lnTo>
                  <a:lnTo>
                    <a:pt x="650234" y="325117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342905"/>
              <a:endParaRPr lang="ru-RU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51" name="Freeform: Shape 150">
              <a:extLst>
                <a:ext uri="{FF2B5EF4-FFF2-40B4-BE49-F238E27FC236}">
                  <a16:creationId xmlns:a16="http://schemas.microsoft.com/office/drawing/2014/main" id="{C91E2C0E-E803-46A4-990B-B57BDB300808}"/>
                </a:ext>
              </a:extLst>
            </p:cNvPr>
            <p:cNvSpPr/>
            <p:nvPr/>
          </p:nvSpPr>
          <p:spPr>
            <a:xfrm>
              <a:off x="5338133" y="2072957"/>
              <a:ext cx="2438399" cy="1706870"/>
            </a:xfrm>
            <a:custGeom>
              <a:avLst/>
              <a:gdLst>
                <a:gd name="connsiteX0" fmla="*/ 2357114 w 2438399"/>
                <a:gd name="connsiteY0" fmla="*/ 0 h 1706870"/>
                <a:gd name="connsiteX1" fmla="*/ 81277 w 2438399"/>
                <a:gd name="connsiteY1" fmla="*/ 0 h 1706870"/>
                <a:gd name="connsiteX2" fmla="*/ 0 w 2438399"/>
                <a:gd name="connsiteY2" fmla="*/ 81277 h 1706870"/>
                <a:gd name="connsiteX3" fmla="*/ 0 w 2438399"/>
                <a:gd name="connsiteY3" fmla="*/ 1625594 h 1706870"/>
                <a:gd name="connsiteX4" fmla="*/ 81277 w 2438399"/>
                <a:gd name="connsiteY4" fmla="*/ 1706870 h 1706870"/>
                <a:gd name="connsiteX5" fmla="*/ 2016233 w 2438399"/>
                <a:gd name="connsiteY5" fmla="*/ 1706870 h 1706870"/>
                <a:gd name="connsiteX6" fmla="*/ 2081422 w 2438399"/>
                <a:gd name="connsiteY6" fmla="*/ 1674114 h 1706870"/>
                <a:gd name="connsiteX7" fmla="*/ 2094100 w 2438399"/>
                <a:gd name="connsiteY7" fmla="*/ 1602181 h 1706870"/>
                <a:gd name="connsiteX8" fmla="*/ 1991201 w 2438399"/>
                <a:gd name="connsiteY8" fmla="*/ 1259100 h 1706870"/>
                <a:gd name="connsiteX9" fmla="*/ 2333797 w 2438399"/>
                <a:gd name="connsiteY9" fmla="*/ 1361923 h 1706870"/>
                <a:gd name="connsiteX10" fmla="*/ 2405644 w 2438399"/>
                <a:gd name="connsiteY10" fmla="*/ 1349245 h 1706870"/>
                <a:gd name="connsiteX11" fmla="*/ 2438400 w 2438399"/>
                <a:gd name="connsiteY11" fmla="*/ 1284056 h 1706870"/>
                <a:gd name="connsiteX12" fmla="*/ 2438400 w 2438399"/>
                <a:gd name="connsiteY12" fmla="*/ 81277 h 1706870"/>
                <a:gd name="connsiteX13" fmla="*/ 2357114 w 2438399"/>
                <a:gd name="connsiteY13" fmla="*/ 0 h 1706870"/>
                <a:gd name="connsiteX14" fmla="*/ 2275837 w 2438399"/>
                <a:gd name="connsiteY14" fmla="*/ 1174823 h 1706870"/>
                <a:gd name="connsiteX15" fmla="*/ 1893246 w 2438399"/>
                <a:gd name="connsiteY15" fmla="*/ 1060056 h 1706870"/>
                <a:gd name="connsiteX16" fmla="*/ 1812455 w 2438399"/>
                <a:gd name="connsiteY16" fmla="*/ 1080459 h 1706870"/>
                <a:gd name="connsiteX17" fmla="*/ 1792053 w 2438399"/>
                <a:gd name="connsiteY17" fmla="*/ 1161336 h 1706870"/>
                <a:gd name="connsiteX18" fmla="*/ 1906981 w 2438399"/>
                <a:gd name="connsiteY18" fmla="*/ 1544326 h 1706870"/>
                <a:gd name="connsiteX19" fmla="*/ 162554 w 2438399"/>
                <a:gd name="connsiteY19" fmla="*/ 1544326 h 1706870"/>
                <a:gd name="connsiteX20" fmla="*/ 162554 w 2438399"/>
                <a:gd name="connsiteY20" fmla="*/ 162563 h 1706870"/>
                <a:gd name="connsiteX21" fmla="*/ 2275837 w 2438399"/>
                <a:gd name="connsiteY21" fmla="*/ 162563 h 1706870"/>
                <a:gd name="connsiteX22" fmla="*/ 2275837 w 2438399"/>
                <a:gd name="connsiteY22" fmla="*/ 1174823 h 17068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2438399" h="1706870">
                  <a:moveTo>
                    <a:pt x="2357114" y="0"/>
                  </a:moveTo>
                  <a:lnTo>
                    <a:pt x="81277" y="0"/>
                  </a:lnTo>
                  <a:cubicBezTo>
                    <a:pt x="36414" y="0"/>
                    <a:pt x="0" y="36414"/>
                    <a:pt x="0" y="81277"/>
                  </a:cubicBezTo>
                  <a:lnTo>
                    <a:pt x="0" y="1625594"/>
                  </a:lnTo>
                  <a:cubicBezTo>
                    <a:pt x="0" y="1670456"/>
                    <a:pt x="36414" y="1706870"/>
                    <a:pt x="81277" y="1706870"/>
                  </a:cubicBezTo>
                  <a:lnTo>
                    <a:pt x="2016233" y="1706870"/>
                  </a:lnTo>
                  <a:cubicBezTo>
                    <a:pt x="2041998" y="1706870"/>
                    <a:pt x="2066135" y="1694764"/>
                    <a:pt x="2081422" y="1674114"/>
                  </a:cubicBezTo>
                  <a:cubicBezTo>
                    <a:pt x="2096786" y="1653473"/>
                    <a:pt x="2101501" y="1626813"/>
                    <a:pt x="2094100" y="1602181"/>
                  </a:cubicBezTo>
                  <a:lnTo>
                    <a:pt x="1991201" y="1259100"/>
                  </a:lnTo>
                  <a:lnTo>
                    <a:pt x="2333797" y="1361923"/>
                  </a:lnTo>
                  <a:cubicBezTo>
                    <a:pt x="2358428" y="1369324"/>
                    <a:pt x="2385089" y="1364609"/>
                    <a:pt x="2405644" y="1349245"/>
                  </a:cubicBezTo>
                  <a:cubicBezTo>
                    <a:pt x="2426284" y="1333967"/>
                    <a:pt x="2438400" y="1309745"/>
                    <a:pt x="2438400" y="1284056"/>
                  </a:cubicBezTo>
                  <a:lnTo>
                    <a:pt x="2438400" y="81277"/>
                  </a:lnTo>
                  <a:cubicBezTo>
                    <a:pt x="2438391" y="36414"/>
                    <a:pt x="2401976" y="0"/>
                    <a:pt x="2357114" y="0"/>
                  </a:cubicBezTo>
                  <a:close/>
                  <a:moveTo>
                    <a:pt x="2275837" y="1174823"/>
                  </a:moveTo>
                  <a:lnTo>
                    <a:pt x="1893246" y="1060056"/>
                  </a:lnTo>
                  <a:cubicBezTo>
                    <a:pt x="1864557" y="1051436"/>
                    <a:pt x="1833591" y="1059323"/>
                    <a:pt x="1812455" y="1080459"/>
                  </a:cubicBezTo>
                  <a:cubicBezTo>
                    <a:pt x="1791243" y="1101671"/>
                    <a:pt x="1783442" y="1132637"/>
                    <a:pt x="1792053" y="1161336"/>
                  </a:cubicBezTo>
                  <a:lnTo>
                    <a:pt x="1906981" y="1544326"/>
                  </a:lnTo>
                  <a:lnTo>
                    <a:pt x="162554" y="1544326"/>
                  </a:lnTo>
                  <a:lnTo>
                    <a:pt x="162554" y="162563"/>
                  </a:lnTo>
                  <a:lnTo>
                    <a:pt x="2275837" y="162563"/>
                  </a:lnTo>
                  <a:lnTo>
                    <a:pt x="2275837" y="117482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342905"/>
              <a:endParaRPr lang="ru-RU">
                <a:solidFill>
                  <a:prstClr val="black"/>
                </a:solidFill>
                <a:latin typeface="Calibri" panose="020F0502020204030204"/>
              </a:endParaRPr>
            </a:p>
          </p:txBody>
        </p:sp>
      </p:grpSp>
      <p:sp>
        <p:nvSpPr>
          <p:cNvPr id="154" name="TextBox 153">
            <a:extLst>
              <a:ext uri="{FF2B5EF4-FFF2-40B4-BE49-F238E27FC236}">
                <a16:creationId xmlns:a16="http://schemas.microsoft.com/office/drawing/2014/main" id="{553E599D-A6AB-4345-B485-FBBCA77695E8}"/>
              </a:ext>
            </a:extLst>
          </p:cNvPr>
          <p:cNvSpPr txBox="1"/>
          <p:nvPr/>
        </p:nvSpPr>
        <p:spPr>
          <a:xfrm>
            <a:off x="6106534" y="5264900"/>
            <a:ext cx="1343139" cy="379249"/>
          </a:xfrm>
          <a:prstGeom prst="rect">
            <a:avLst/>
          </a:prstGeom>
          <a:noFill/>
        </p:spPr>
        <p:txBody>
          <a:bodyPr wrap="square" lIns="26999" tIns="0" rIns="26999" bIns="0" rtlCol="0" anchor="ctr">
            <a:noAutofit/>
          </a:bodyPr>
          <a:lstStyle>
            <a:defPPr>
              <a:defRPr lang="en-US"/>
            </a:defPPr>
            <a:lvl1pPr algn="ctr">
              <a:defRPr sz="1600" b="1">
                <a:solidFill>
                  <a:srgbClr val="E94E1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defTabSz="342905"/>
            <a:r>
              <a:rPr lang="ru-RU" sz="675" b="0" dirty="0"/>
              <a:t>Развитие сети связи общего пользования вдоль сети а/д</a:t>
            </a:r>
          </a:p>
        </p:txBody>
      </p:sp>
      <p:grpSp>
        <p:nvGrpSpPr>
          <p:cNvPr id="155" name="Graphic 257">
            <a:extLst>
              <a:ext uri="{FF2B5EF4-FFF2-40B4-BE49-F238E27FC236}">
                <a16:creationId xmlns:a16="http://schemas.microsoft.com/office/drawing/2014/main" id="{346122B3-7079-416B-A91C-AD2A845DDFF2}"/>
              </a:ext>
            </a:extLst>
          </p:cNvPr>
          <p:cNvGrpSpPr/>
          <p:nvPr/>
        </p:nvGrpSpPr>
        <p:grpSpPr>
          <a:xfrm>
            <a:off x="6623769" y="4946768"/>
            <a:ext cx="308669" cy="308669"/>
            <a:chOff x="4281487" y="1341437"/>
            <a:chExt cx="4876800" cy="4876800"/>
          </a:xfrm>
          <a:solidFill>
            <a:srgbClr val="E94E14"/>
          </a:solidFill>
        </p:grpSpPr>
        <p:sp>
          <p:nvSpPr>
            <p:cNvPr id="156" name="Freeform: Shape 101">
              <a:extLst>
                <a:ext uri="{FF2B5EF4-FFF2-40B4-BE49-F238E27FC236}">
                  <a16:creationId xmlns:a16="http://schemas.microsoft.com/office/drawing/2014/main" id="{E2AC4F4D-3B98-4688-AE13-D9E448B348C6}"/>
                </a:ext>
              </a:extLst>
            </p:cNvPr>
            <p:cNvSpPr/>
            <p:nvPr/>
          </p:nvSpPr>
          <p:spPr>
            <a:xfrm>
              <a:off x="5578773" y="1955094"/>
              <a:ext cx="2282341" cy="4263151"/>
            </a:xfrm>
            <a:custGeom>
              <a:avLst/>
              <a:gdLst>
                <a:gd name="connsiteX0" fmla="*/ 2278446 w 2282341"/>
                <a:gd name="connsiteY0" fmla="*/ 4140470 h 4263151"/>
                <a:gd name="connsiteX1" fmla="*/ 1892931 w 2282341"/>
                <a:gd name="connsiteY1" fmla="*/ 2826315 h 4263151"/>
                <a:gd name="connsiteX2" fmla="*/ 1892865 w 2282341"/>
                <a:gd name="connsiteY2" fmla="*/ 2826077 h 4263151"/>
                <a:gd name="connsiteX3" fmla="*/ 1755295 w 2282341"/>
                <a:gd name="connsiteY3" fmla="*/ 2357142 h 4263151"/>
                <a:gd name="connsiteX4" fmla="*/ 1755257 w 2282341"/>
                <a:gd name="connsiteY4" fmla="*/ 2357009 h 4263151"/>
                <a:gd name="connsiteX5" fmla="*/ 1565157 w 2282341"/>
                <a:gd name="connsiteY5" fmla="*/ 1708995 h 4263151"/>
                <a:gd name="connsiteX6" fmla="*/ 1565052 w 2282341"/>
                <a:gd name="connsiteY6" fmla="*/ 1708633 h 4263151"/>
                <a:gd name="connsiteX7" fmla="*/ 1262595 w 2282341"/>
                <a:gd name="connsiteY7" fmla="*/ 677608 h 4263151"/>
                <a:gd name="connsiteX8" fmla="*/ 1490862 w 2282341"/>
                <a:gd name="connsiteY8" fmla="*/ 349691 h 4263151"/>
                <a:gd name="connsiteX9" fmla="*/ 1141171 w 2282341"/>
                <a:gd name="connsiteY9" fmla="*/ 0 h 4263151"/>
                <a:gd name="connsiteX10" fmla="*/ 791479 w 2282341"/>
                <a:gd name="connsiteY10" fmla="*/ 349691 h 4263151"/>
                <a:gd name="connsiteX11" fmla="*/ 1019746 w 2282341"/>
                <a:gd name="connsiteY11" fmla="*/ 677608 h 4263151"/>
                <a:gd name="connsiteX12" fmla="*/ 389477 w 2282341"/>
                <a:gd name="connsiteY12" fmla="*/ 2826096 h 4263151"/>
                <a:gd name="connsiteX13" fmla="*/ 389410 w 2282341"/>
                <a:gd name="connsiteY13" fmla="*/ 2826334 h 4263151"/>
                <a:gd name="connsiteX14" fmla="*/ 3895 w 2282341"/>
                <a:gd name="connsiteY14" fmla="*/ 4140480 h 4263151"/>
                <a:gd name="connsiteX15" fmla="*/ 68779 w 2282341"/>
                <a:gd name="connsiteY15" fmla="*/ 4259256 h 4263151"/>
                <a:gd name="connsiteX16" fmla="*/ 187556 w 2282341"/>
                <a:gd name="connsiteY16" fmla="*/ 4194362 h 4263151"/>
                <a:gd name="connsiteX17" fmla="*/ 246173 w 2282341"/>
                <a:gd name="connsiteY17" fmla="*/ 3994547 h 4263151"/>
                <a:gd name="connsiteX18" fmla="*/ 1141180 w 2282341"/>
                <a:gd name="connsiteY18" fmla="*/ 3403359 h 4263151"/>
                <a:gd name="connsiteX19" fmla="*/ 2036187 w 2282341"/>
                <a:gd name="connsiteY19" fmla="*/ 3994547 h 4263151"/>
                <a:gd name="connsiteX20" fmla="*/ 2094804 w 2282341"/>
                <a:gd name="connsiteY20" fmla="*/ 4194362 h 4263151"/>
                <a:gd name="connsiteX21" fmla="*/ 2186606 w 2282341"/>
                <a:gd name="connsiteY21" fmla="*/ 4263152 h 4263151"/>
                <a:gd name="connsiteX22" fmla="*/ 2213581 w 2282341"/>
                <a:gd name="connsiteY22" fmla="*/ 4259256 h 4263151"/>
                <a:gd name="connsiteX23" fmla="*/ 2278446 w 2282341"/>
                <a:gd name="connsiteY23" fmla="*/ 4140470 h 4263151"/>
                <a:gd name="connsiteX24" fmla="*/ 982874 w 2282341"/>
                <a:gd name="connsiteY24" fmla="*/ 349672 h 4263151"/>
                <a:gd name="connsiteX25" fmla="*/ 1141161 w 2282341"/>
                <a:gd name="connsiteY25" fmla="*/ 191386 h 4263151"/>
                <a:gd name="connsiteX26" fmla="*/ 1299447 w 2282341"/>
                <a:gd name="connsiteY26" fmla="*/ 349672 h 4263151"/>
                <a:gd name="connsiteX27" fmla="*/ 1141161 w 2282341"/>
                <a:gd name="connsiteY27" fmla="*/ 507959 h 4263151"/>
                <a:gd name="connsiteX28" fmla="*/ 982874 w 2282341"/>
                <a:gd name="connsiteY28" fmla="*/ 349672 h 4263151"/>
                <a:gd name="connsiteX29" fmla="*/ 1141161 w 2282341"/>
                <a:gd name="connsiteY29" fmla="*/ 943661 h 4263151"/>
                <a:gd name="connsiteX30" fmla="*/ 1345872 w 2282341"/>
                <a:gd name="connsiteY30" fmla="*/ 1641510 h 4263151"/>
                <a:gd name="connsiteX31" fmla="*/ 936440 w 2282341"/>
                <a:gd name="connsiteY31" fmla="*/ 1641510 h 4263151"/>
                <a:gd name="connsiteX32" fmla="*/ 1141161 w 2282341"/>
                <a:gd name="connsiteY32" fmla="*/ 943661 h 4263151"/>
                <a:gd name="connsiteX33" fmla="*/ 880290 w 2282341"/>
                <a:gd name="connsiteY33" fmla="*/ 1832915 h 4263151"/>
                <a:gd name="connsiteX34" fmla="*/ 1402032 w 2282341"/>
                <a:gd name="connsiteY34" fmla="*/ 1832915 h 4263151"/>
                <a:gd name="connsiteX35" fmla="*/ 1536058 w 2282341"/>
                <a:gd name="connsiteY35" fmla="*/ 2289810 h 4263151"/>
                <a:gd name="connsiteX36" fmla="*/ 746264 w 2282341"/>
                <a:gd name="connsiteY36" fmla="*/ 2289810 h 4263151"/>
                <a:gd name="connsiteX37" fmla="*/ 880290 w 2282341"/>
                <a:gd name="connsiteY37" fmla="*/ 1832915 h 4263151"/>
                <a:gd name="connsiteX38" fmla="*/ 329631 w 2282341"/>
                <a:gd name="connsiteY38" fmla="*/ 3710007 h 4263151"/>
                <a:gd name="connsiteX39" fmla="*/ 536723 w 2282341"/>
                <a:gd name="connsiteY39" fmla="*/ 3004090 h 4263151"/>
                <a:gd name="connsiteX40" fmla="*/ 967530 w 2282341"/>
                <a:gd name="connsiteY40" fmla="*/ 3288649 h 4263151"/>
                <a:gd name="connsiteX41" fmla="*/ 329631 w 2282341"/>
                <a:gd name="connsiteY41" fmla="*/ 3710007 h 4263151"/>
                <a:gd name="connsiteX42" fmla="*/ 593092 w 2282341"/>
                <a:gd name="connsiteY42" fmla="*/ 2811932 h 4263151"/>
                <a:gd name="connsiteX43" fmla="*/ 690114 w 2282341"/>
                <a:gd name="connsiteY43" fmla="*/ 2481215 h 4263151"/>
                <a:gd name="connsiteX44" fmla="*/ 1592217 w 2282341"/>
                <a:gd name="connsiteY44" fmla="*/ 2481215 h 4263151"/>
                <a:gd name="connsiteX45" fmla="*/ 1689239 w 2282341"/>
                <a:gd name="connsiteY45" fmla="*/ 2811932 h 4263151"/>
                <a:gd name="connsiteX46" fmla="*/ 1141161 w 2282341"/>
                <a:gd name="connsiteY46" fmla="*/ 3173959 h 4263151"/>
                <a:gd name="connsiteX47" fmla="*/ 593092 w 2282341"/>
                <a:gd name="connsiteY47" fmla="*/ 2811932 h 4263151"/>
                <a:gd name="connsiteX48" fmla="*/ 1314802 w 2282341"/>
                <a:gd name="connsiteY48" fmla="*/ 3288659 h 4263151"/>
                <a:gd name="connsiteX49" fmla="*/ 1745608 w 2282341"/>
                <a:gd name="connsiteY49" fmla="*/ 3004099 h 4263151"/>
                <a:gd name="connsiteX50" fmla="*/ 1952700 w 2282341"/>
                <a:gd name="connsiteY50" fmla="*/ 3710016 h 4263151"/>
                <a:gd name="connsiteX51" fmla="*/ 1314802 w 2282341"/>
                <a:gd name="connsiteY51" fmla="*/ 3288659 h 42631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</a:cxnLst>
              <a:rect l="l" t="t" r="r" b="b"/>
              <a:pathLst>
                <a:path w="2282341" h="4263151">
                  <a:moveTo>
                    <a:pt x="2278446" y="4140470"/>
                  </a:moveTo>
                  <a:lnTo>
                    <a:pt x="1892931" y="2826315"/>
                  </a:lnTo>
                  <a:cubicBezTo>
                    <a:pt x="1892912" y="2826239"/>
                    <a:pt x="1892883" y="2826163"/>
                    <a:pt x="1892865" y="2826077"/>
                  </a:cubicBezTo>
                  <a:lnTo>
                    <a:pt x="1755295" y="2357142"/>
                  </a:lnTo>
                  <a:cubicBezTo>
                    <a:pt x="1755285" y="2357095"/>
                    <a:pt x="1755266" y="2357047"/>
                    <a:pt x="1755257" y="2357009"/>
                  </a:cubicBezTo>
                  <a:lnTo>
                    <a:pt x="1565157" y="1708995"/>
                  </a:lnTo>
                  <a:cubicBezTo>
                    <a:pt x="1565119" y="1708871"/>
                    <a:pt x="1565090" y="1708747"/>
                    <a:pt x="1565052" y="1708633"/>
                  </a:cubicBezTo>
                  <a:lnTo>
                    <a:pt x="1262595" y="677608"/>
                  </a:lnTo>
                  <a:cubicBezTo>
                    <a:pt x="1395736" y="628145"/>
                    <a:pt x="1490862" y="499834"/>
                    <a:pt x="1490862" y="349691"/>
                  </a:cubicBezTo>
                  <a:cubicBezTo>
                    <a:pt x="1490862" y="156867"/>
                    <a:pt x="1333985" y="0"/>
                    <a:pt x="1141171" y="0"/>
                  </a:cubicBezTo>
                  <a:cubicBezTo>
                    <a:pt x="948356" y="0"/>
                    <a:pt x="791479" y="156877"/>
                    <a:pt x="791479" y="349691"/>
                  </a:cubicBezTo>
                  <a:cubicBezTo>
                    <a:pt x="791479" y="499834"/>
                    <a:pt x="886605" y="628155"/>
                    <a:pt x="1019746" y="677608"/>
                  </a:cubicBezTo>
                  <a:lnTo>
                    <a:pt x="389477" y="2826096"/>
                  </a:lnTo>
                  <a:cubicBezTo>
                    <a:pt x="389457" y="2826172"/>
                    <a:pt x="389429" y="2826248"/>
                    <a:pt x="389410" y="2826334"/>
                  </a:cubicBezTo>
                  <a:lnTo>
                    <a:pt x="3895" y="4140480"/>
                  </a:lnTo>
                  <a:cubicBezTo>
                    <a:pt x="-10983" y="4191191"/>
                    <a:pt x="18068" y="4244369"/>
                    <a:pt x="68779" y="4259256"/>
                  </a:cubicBezTo>
                  <a:cubicBezTo>
                    <a:pt x="119557" y="4274125"/>
                    <a:pt x="172669" y="4245083"/>
                    <a:pt x="187556" y="4194362"/>
                  </a:cubicBezTo>
                  <a:lnTo>
                    <a:pt x="246173" y="3994547"/>
                  </a:lnTo>
                  <a:lnTo>
                    <a:pt x="1141180" y="3403359"/>
                  </a:lnTo>
                  <a:lnTo>
                    <a:pt x="2036187" y="3994547"/>
                  </a:lnTo>
                  <a:lnTo>
                    <a:pt x="2094804" y="4194362"/>
                  </a:lnTo>
                  <a:cubicBezTo>
                    <a:pt x="2107044" y="4236092"/>
                    <a:pt x="2145210" y="4263152"/>
                    <a:pt x="2186606" y="4263152"/>
                  </a:cubicBezTo>
                  <a:cubicBezTo>
                    <a:pt x="2195521" y="4263152"/>
                    <a:pt x="2204599" y="4261895"/>
                    <a:pt x="2213581" y="4259256"/>
                  </a:cubicBezTo>
                  <a:cubicBezTo>
                    <a:pt x="2264273" y="4244369"/>
                    <a:pt x="2293324" y="4191191"/>
                    <a:pt x="2278446" y="4140470"/>
                  </a:cubicBezTo>
                  <a:close/>
                  <a:moveTo>
                    <a:pt x="982874" y="349672"/>
                  </a:moveTo>
                  <a:cubicBezTo>
                    <a:pt x="982874" y="262395"/>
                    <a:pt x="1053883" y="191386"/>
                    <a:pt x="1141161" y="191386"/>
                  </a:cubicBezTo>
                  <a:cubicBezTo>
                    <a:pt x="1228439" y="191386"/>
                    <a:pt x="1299447" y="262395"/>
                    <a:pt x="1299447" y="349672"/>
                  </a:cubicBezTo>
                  <a:cubicBezTo>
                    <a:pt x="1299447" y="436950"/>
                    <a:pt x="1228439" y="507959"/>
                    <a:pt x="1141161" y="507959"/>
                  </a:cubicBezTo>
                  <a:cubicBezTo>
                    <a:pt x="1053883" y="507959"/>
                    <a:pt x="982874" y="436959"/>
                    <a:pt x="982874" y="349672"/>
                  </a:cubicBezTo>
                  <a:close/>
                  <a:moveTo>
                    <a:pt x="1141161" y="943661"/>
                  </a:moveTo>
                  <a:lnTo>
                    <a:pt x="1345872" y="1641510"/>
                  </a:lnTo>
                  <a:lnTo>
                    <a:pt x="936440" y="1641510"/>
                  </a:lnTo>
                  <a:lnTo>
                    <a:pt x="1141161" y="943661"/>
                  </a:lnTo>
                  <a:close/>
                  <a:moveTo>
                    <a:pt x="880290" y="1832915"/>
                  </a:moveTo>
                  <a:lnTo>
                    <a:pt x="1402032" y="1832915"/>
                  </a:lnTo>
                  <a:lnTo>
                    <a:pt x="1536058" y="2289810"/>
                  </a:lnTo>
                  <a:lnTo>
                    <a:pt x="746264" y="2289810"/>
                  </a:lnTo>
                  <a:lnTo>
                    <a:pt x="880290" y="1832915"/>
                  </a:lnTo>
                  <a:close/>
                  <a:moveTo>
                    <a:pt x="329631" y="3710007"/>
                  </a:moveTo>
                  <a:lnTo>
                    <a:pt x="536723" y="3004090"/>
                  </a:lnTo>
                  <a:lnTo>
                    <a:pt x="967530" y="3288649"/>
                  </a:lnTo>
                  <a:lnTo>
                    <a:pt x="329631" y="3710007"/>
                  </a:lnTo>
                  <a:close/>
                  <a:moveTo>
                    <a:pt x="593092" y="2811932"/>
                  </a:moveTo>
                  <a:lnTo>
                    <a:pt x="690114" y="2481215"/>
                  </a:lnTo>
                  <a:lnTo>
                    <a:pt x="1592217" y="2481215"/>
                  </a:lnTo>
                  <a:lnTo>
                    <a:pt x="1689239" y="2811932"/>
                  </a:lnTo>
                  <a:lnTo>
                    <a:pt x="1141161" y="3173959"/>
                  </a:lnTo>
                  <a:lnTo>
                    <a:pt x="593092" y="2811932"/>
                  </a:lnTo>
                  <a:close/>
                  <a:moveTo>
                    <a:pt x="1314802" y="3288659"/>
                  </a:moveTo>
                  <a:lnTo>
                    <a:pt x="1745608" y="3004099"/>
                  </a:lnTo>
                  <a:lnTo>
                    <a:pt x="1952700" y="3710016"/>
                  </a:lnTo>
                  <a:lnTo>
                    <a:pt x="1314802" y="3288659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342905"/>
              <a:endParaRPr lang="ru-RU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57" name="Freeform: Shape 102">
              <a:extLst>
                <a:ext uri="{FF2B5EF4-FFF2-40B4-BE49-F238E27FC236}">
                  <a16:creationId xmlns:a16="http://schemas.microsoft.com/office/drawing/2014/main" id="{75E67214-AC47-4BD4-BD0A-9E22A2505231}"/>
                </a:ext>
              </a:extLst>
            </p:cNvPr>
            <p:cNvSpPr/>
            <p:nvPr/>
          </p:nvSpPr>
          <p:spPr>
            <a:xfrm>
              <a:off x="5885529" y="1686442"/>
              <a:ext cx="407476" cy="1236659"/>
            </a:xfrm>
            <a:custGeom>
              <a:avLst/>
              <a:gdLst>
                <a:gd name="connsiteX0" fmla="*/ 379444 w 407476"/>
                <a:gd name="connsiteY0" fmla="*/ 163373 h 1236659"/>
                <a:gd name="connsiteX1" fmla="*/ 379444 w 407476"/>
                <a:gd name="connsiteY1" fmla="*/ 28032 h 1236659"/>
                <a:gd name="connsiteX2" fmla="*/ 244094 w 407476"/>
                <a:gd name="connsiteY2" fmla="*/ 28032 h 1236659"/>
                <a:gd name="connsiteX3" fmla="*/ 244103 w 407476"/>
                <a:gd name="connsiteY3" fmla="*/ 1208627 h 1236659"/>
                <a:gd name="connsiteX4" fmla="*/ 311778 w 407476"/>
                <a:gd name="connsiteY4" fmla="*/ 1236659 h 1236659"/>
                <a:gd name="connsiteX5" fmla="*/ 379444 w 407476"/>
                <a:gd name="connsiteY5" fmla="*/ 1208627 h 1236659"/>
                <a:gd name="connsiteX6" fmla="*/ 379444 w 407476"/>
                <a:gd name="connsiteY6" fmla="*/ 1073287 h 1236659"/>
                <a:gd name="connsiteX7" fmla="*/ 379444 w 407476"/>
                <a:gd name="connsiteY7" fmla="*/ 163373 h 12366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07476" h="1236659">
                  <a:moveTo>
                    <a:pt x="379444" y="163373"/>
                  </a:moveTo>
                  <a:cubicBezTo>
                    <a:pt x="416820" y="125997"/>
                    <a:pt x="416820" y="65399"/>
                    <a:pt x="379444" y="28032"/>
                  </a:cubicBezTo>
                  <a:cubicBezTo>
                    <a:pt x="342068" y="-9344"/>
                    <a:pt x="281479" y="-9344"/>
                    <a:pt x="244094" y="28032"/>
                  </a:cubicBezTo>
                  <a:cubicBezTo>
                    <a:pt x="-81366" y="353520"/>
                    <a:pt x="-81366" y="883139"/>
                    <a:pt x="244103" y="1208627"/>
                  </a:cubicBezTo>
                  <a:cubicBezTo>
                    <a:pt x="262791" y="1227315"/>
                    <a:pt x="287280" y="1236659"/>
                    <a:pt x="311778" y="1236659"/>
                  </a:cubicBezTo>
                  <a:cubicBezTo>
                    <a:pt x="336267" y="1236659"/>
                    <a:pt x="360756" y="1227306"/>
                    <a:pt x="379444" y="1208627"/>
                  </a:cubicBezTo>
                  <a:cubicBezTo>
                    <a:pt x="416820" y="1171251"/>
                    <a:pt x="416820" y="1110653"/>
                    <a:pt x="379444" y="1073287"/>
                  </a:cubicBezTo>
                  <a:cubicBezTo>
                    <a:pt x="128574" y="822427"/>
                    <a:pt x="128574" y="414233"/>
                    <a:pt x="379444" y="16337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342905"/>
              <a:endParaRPr lang="ru-RU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58" name="Freeform: Shape 103">
              <a:extLst>
                <a:ext uri="{FF2B5EF4-FFF2-40B4-BE49-F238E27FC236}">
                  <a16:creationId xmlns:a16="http://schemas.microsoft.com/office/drawing/2014/main" id="{A982ACBD-1B02-4400-8197-6D99CA3D474D}"/>
                </a:ext>
              </a:extLst>
            </p:cNvPr>
            <p:cNvSpPr/>
            <p:nvPr/>
          </p:nvSpPr>
          <p:spPr>
            <a:xfrm>
              <a:off x="7146854" y="1686451"/>
              <a:ext cx="407492" cy="1236649"/>
            </a:xfrm>
            <a:custGeom>
              <a:avLst/>
              <a:gdLst>
                <a:gd name="connsiteX0" fmla="*/ 163382 w 407492"/>
                <a:gd name="connsiteY0" fmla="*/ 28032 h 1236649"/>
                <a:gd name="connsiteX1" fmla="*/ 28032 w 407492"/>
                <a:gd name="connsiteY1" fmla="*/ 28032 h 1236649"/>
                <a:gd name="connsiteX2" fmla="*/ 28032 w 407492"/>
                <a:gd name="connsiteY2" fmla="*/ 163373 h 1236649"/>
                <a:gd name="connsiteX3" fmla="*/ 28032 w 407492"/>
                <a:gd name="connsiteY3" fmla="*/ 1073287 h 1236649"/>
                <a:gd name="connsiteX4" fmla="*/ 28041 w 407492"/>
                <a:gd name="connsiteY4" fmla="*/ 1208618 h 1236649"/>
                <a:gd name="connsiteX5" fmla="*/ 95717 w 407492"/>
                <a:gd name="connsiteY5" fmla="*/ 1236650 h 1236649"/>
                <a:gd name="connsiteX6" fmla="*/ 163392 w 407492"/>
                <a:gd name="connsiteY6" fmla="*/ 1208618 h 1236649"/>
                <a:gd name="connsiteX7" fmla="*/ 163382 w 407492"/>
                <a:gd name="connsiteY7" fmla="*/ 28032 h 12366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07492" h="1236649">
                  <a:moveTo>
                    <a:pt x="163382" y="28032"/>
                  </a:moveTo>
                  <a:cubicBezTo>
                    <a:pt x="126006" y="-9344"/>
                    <a:pt x="65427" y="-9344"/>
                    <a:pt x="28032" y="28032"/>
                  </a:cubicBezTo>
                  <a:cubicBezTo>
                    <a:pt x="-9344" y="65408"/>
                    <a:pt x="-9344" y="126006"/>
                    <a:pt x="28032" y="163373"/>
                  </a:cubicBezTo>
                  <a:cubicBezTo>
                    <a:pt x="278892" y="414233"/>
                    <a:pt x="278892" y="822427"/>
                    <a:pt x="28032" y="1073287"/>
                  </a:cubicBezTo>
                  <a:cubicBezTo>
                    <a:pt x="-9334" y="1110644"/>
                    <a:pt x="-9334" y="1171251"/>
                    <a:pt x="28041" y="1208618"/>
                  </a:cubicBezTo>
                  <a:cubicBezTo>
                    <a:pt x="46730" y="1227306"/>
                    <a:pt x="71218" y="1236650"/>
                    <a:pt x="95717" y="1236650"/>
                  </a:cubicBezTo>
                  <a:cubicBezTo>
                    <a:pt x="120215" y="1236650"/>
                    <a:pt x="144694" y="1227296"/>
                    <a:pt x="163392" y="1208618"/>
                  </a:cubicBezTo>
                  <a:cubicBezTo>
                    <a:pt x="488861" y="883129"/>
                    <a:pt x="488861" y="353511"/>
                    <a:pt x="163382" y="28032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342905"/>
              <a:endParaRPr lang="ru-RU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59" name="Freeform: Shape 104">
              <a:extLst>
                <a:ext uri="{FF2B5EF4-FFF2-40B4-BE49-F238E27FC236}">
                  <a16:creationId xmlns:a16="http://schemas.microsoft.com/office/drawing/2014/main" id="{44044B25-791D-468C-9F58-52500D5E6BAA}"/>
                </a:ext>
              </a:extLst>
            </p:cNvPr>
            <p:cNvSpPr/>
            <p:nvPr/>
          </p:nvSpPr>
          <p:spPr>
            <a:xfrm>
              <a:off x="5397216" y="1341437"/>
              <a:ext cx="550802" cy="1926678"/>
            </a:xfrm>
            <a:custGeom>
              <a:avLst/>
              <a:gdLst>
                <a:gd name="connsiteX0" fmla="*/ 522761 w 550802"/>
                <a:gd name="connsiteY0" fmla="*/ 163373 h 1926678"/>
                <a:gd name="connsiteX1" fmla="*/ 522761 w 550802"/>
                <a:gd name="connsiteY1" fmla="*/ 28032 h 1926678"/>
                <a:gd name="connsiteX2" fmla="*/ 387410 w 550802"/>
                <a:gd name="connsiteY2" fmla="*/ 28032 h 1926678"/>
                <a:gd name="connsiteX3" fmla="*/ 0 w 550802"/>
                <a:gd name="connsiteY3" fmla="*/ 963339 h 1926678"/>
                <a:gd name="connsiteX4" fmla="*/ 387410 w 550802"/>
                <a:gd name="connsiteY4" fmla="*/ 1898647 h 1926678"/>
                <a:gd name="connsiteX5" fmla="*/ 455095 w 550802"/>
                <a:gd name="connsiteY5" fmla="*/ 1926679 h 1926678"/>
                <a:gd name="connsiteX6" fmla="*/ 522770 w 550802"/>
                <a:gd name="connsiteY6" fmla="*/ 1898647 h 1926678"/>
                <a:gd name="connsiteX7" fmla="*/ 522770 w 550802"/>
                <a:gd name="connsiteY7" fmla="*/ 1763306 h 1926678"/>
                <a:gd name="connsiteX8" fmla="*/ 522761 w 550802"/>
                <a:gd name="connsiteY8" fmla="*/ 163373 h 19266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50802" h="1926678">
                  <a:moveTo>
                    <a:pt x="522761" y="163373"/>
                  </a:moveTo>
                  <a:cubicBezTo>
                    <a:pt x="560137" y="125997"/>
                    <a:pt x="560137" y="65399"/>
                    <a:pt x="522761" y="28032"/>
                  </a:cubicBezTo>
                  <a:cubicBezTo>
                    <a:pt x="485384" y="-9344"/>
                    <a:pt x="424796" y="-9344"/>
                    <a:pt x="387410" y="28032"/>
                  </a:cubicBezTo>
                  <a:cubicBezTo>
                    <a:pt x="137589" y="277863"/>
                    <a:pt x="0" y="610019"/>
                    <a:pt x="0" y="963339"/>
                  </a:cubicBezTo>
                  <a:cubicBezTo>
                    <a:pt x="0" y="1316650"/>
                    <a:pt x="137589" y="1648816"/>
                    <a:pt x="387410" y="1898647"/>
                  </a:cubicBezTo>
                  <a:cubicBezTo>
                    <a:pt x="406108" y="1917335"/>
                    <a:pt x="430587" y="1926679"/>
                    <a:pt x="455095" y="1926679"/>
                  </a:cubicBezTo>
                  <a:cubicBezTo>
                    <a:pt x="479603" y="1926679"/>
                    <a:pt x="504073" y="1917325"/>
                    <a:pt x="522770" y="1898647"/>
                  </a:cubicBezTo>
                  <a:cubicBezTo>
                    <a:pt x="560146" y="1861271"/>
                    <a:pt x="560146" y="1800673"/>
                    <a:pt x="522770" y="1763306"/>
                  </a:cubicBezTo>
                  <a:cubicBezTo>
                    <a:pt x="81648" y="1322194"/>
                    <a:pt x="81648" y="604476"/>
                    <a:pt x="522761" y="163373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342905"/>
              <a:endParaRPr lang="ru-RU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60" name="Freeform: Shape 105">
              <a:extLst>
                <a:ext uri="{FF2B5EF4-FFF2-40B4-BE49-F238E27FC236}">
                  <a16:creationId xmlns:a16="http://schemas.microsoft.com/office/drawing/2014/main" id="{A3A4FDBC-A95C-4A12-A152-9FC81A99EDE9}"/>
                </a:ext>
              </a:extLst>
            </p:cNvPr>
            <p:cNvSpPr/>
            <p:nvPr/>
          </p:nvSpPr>
          <p:spPr>
            <a:xfrm>
              <a:off x="7491859" y="1566230"/>
              <a:ext cx="550706" cy="1701875"/>
            </a:xfrm>
            <a:custGeom>
              <a:avLst/>
              <a:gdLst>
                <a:gd name="connsiteX0" fmla="*/ 355044 w 550706"/>
                <a:gd name="connsiteY0" fmla="*/ 45526 h 1701875"/>
                <a:gd name="connsiteX1" fmla="*/ 223361 w 550706"/>
                <a:gd name="connsiteY1" fmla="*/ 14227 h 1701875"/>
                <a:gd name="connsiteX2" fmla="*/ 192072 w 550706"/>
                <a:gd name="connsiteY2" fmla="*/ 145900 h 1701875"/>
                <a:gd name="connsiteX3" fmla="*/ 28032 w 550706"/>
                <a:gd name="connsiteY3" fmla="*/ 1538494 h 1701875"/>
                <a:gd name="connsiteX4" fmla="*/ 28032 w 550706"/>
                <a:gd name="connsiteY4" fmla="*/ 1673844 h 1701875"/>
                <a:gd name="connsiteX5" fmla="*/ 95707 w 550706"/>
                <a:gd name="connsiteY5" fmla="*/ 1701876 h 1701875"/>
                <a:gd name="connsiteX6" fmla="*/ 163382 w 550706"/>
                <a:gd name="connsiteY6" fmla="*/ 1673844 h 1701875"/>
                <a:gd name="connsiteX7" fmla="*/ 542696 w 550706"/>
                <a:gd name="connsiteY7" fmla="*/ 885117 h 1701875"/>
                <a:gd name="connsiteX8" fmla="*/ 355044 w 550706"/>
                <a:gd name="connsiteY8" fmla="*/ 45526 h 1701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50706" h="1701875">
                  <a:moveTo>
                    <a:pt x="355044" y="45526"/>
                  </a:moveTo>
                  <a:cubicBezTo>
                    <a:pt x="327326" y="530"/>
                    <a:pt x="268367" y="-13491"/>
                    <a:pt x="223361" y="14227"/>
                  </a:cubicBezTo>
                  <a:cubicBezTo>
                    <a:pt x="178375" y="41954"/>
                    <a:pt x="164363" y="100904"/>
                    <a:pt x="192072" y="145900"/>
                  </a:cubicBezTo>
                  <a:cubicBezTo>
                    <a:pt x="467820" y="593518"/>
                    <a:pt x="400355" y="1166180"/>
                    <a:pt x="28032" y="1538494"/>
                  </a:cubicBezTo>
                  <a:cubicBezTo>
                    <a:pt x="-9344" y="1575870"/>
                    <a:pt x="-9344" y="1636468"/>
                    <a:pt x="28032" y="1673844"/>
                  </a:cubicBezTo>
                  <a:cubicBezTo>
                    <a:pt x="46720" y="1692532"/>
                    <a:pt x="71209" y="1701876"/>
                    <a:pt x="95707" y="1701876"/>
                  </a:cubicBezTo>
                  <a:cubicBezTo>
                    <a:pt x="120196" y="1701876"/>
                    <a:pt x="144685" y="1692532"/>
                    <a:pt x="163382" y="1673844"/>
                  </a:cubicBezTo>
                  <a:cubicBezTo>
                    <a:pt x="375047" y="1462170"/>
                    <a:pt x="509759" y="1182059"/>
                    <a:pt x="542696" y="885117"/>
                  </a:cubicBezTo>
                  <a:cubicBezTo>
                    <a:pt x="575110" y="592775"/>
                    <a:pt x="508473" y="294595"/>
                    <a:pt x="355044" y="45526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342905"/>
              <a:endParaRPr lang="ru-RU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sp>
          <p:nvSpPr>
            <p:cNvPr id="161" name="Freeform: Shape 106">
              <a:extLst>
                <a:ext uri="{FF2B5EF4-FFF2-40B4-BE49-F238E27FC236}">
                  <a16:creationId xmlns:a16="http://schemas.microsoft.com/office/drawing/2014/main" id="{154F41F5-C26A-43D7-99E3-CC385C7837F1}"/>
                </a:ext>
              </a:extLst>
            </p:cNvPr>
            <p:cNvSpPr/>
            <p:nvPr/>
          </p:nvSpPr>
          <p:spPr>
            <a:xfrm>
              <a:off x="7495123" y="1341437"/>
              <a:ext cx="184887" cy="191404"/>
            </a:xfrm>
            <a:custGeom>
              <a:avLst/>
              <a:gdLst>
                <a:gd name="connsiteX0" fmla="*/ 92444 w 184887"/>
                <a:gd name="connsiteY0" fmla="*/ 0 h 191404"/>
                <a:gd name="connsiteX1" fmla="*/ 92444 w 184887"/>
                <a:gd name="connsiteY1" fmla="*/ 191405 h 191404"/>
                <a:gd name="connsiteX2" fmla="*/ 92444 w 184887"/>
                <a:gd name="connsiteY2" fmla="*/ 0 h 1914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84887" h="191404">
                  <a:moveTo>
                    <a:pt x="92444" y="0"/>
                  </a:moveTo>
                  <a:cubicBezTo>
                    <a:pt x="-30715" y="0"/>
                    <a:pt x="-30915" y="191405"/>
                    <a:pt x="92444" y="191405"/>
                  </a:cubicBezTo>
                  <a:cubicBezTo>
                    <a:pt x="215602" y="191405"/>
                    <a:pt x="215802" y="0"/>
                    <a:pt x="92444" y="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342905"/>
              <a:endParaRPr lang="ru-RU">
                <a:solidFill>
                  <a:prstClr val="black"/>
                </a:solidFill>
                <a:latin typeface="Calibri" panose="020F0502020204030204"/>
              </a:endParaRPr>
            </a:p>
          </p:txBody>
        </p:sp>
      </p:grpSp>
      <p:sp>
        <p:nvSpPr>
          <p:cNvPr id="162" name="TextBox 161">
            <a:extLst>
              <a:ext uri="{FF2B5EF4-FFF2-40B4-BE49-F238E27FC236}">
                <a16:creationId xmlns:a16="http://schemas.microsoft.com/office/drawing/2014/main" id="{33AFA2CE-5727-41E4-AA99-B10095C2CBFC}"/>
              </a:ext>
            </a:extLst>
          </p:cNvPr>
          <p:cNvSpPr txBox="1"/>
          <p:nvPr/>
        </p:nvSpPr>
        <p:spPr>
          <a:xfrm>
            <a:off x="2369376" y="2336649"/>
            <a:ext cx="1343139" cy="45732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defPPr>
              <a:defRPr lang="en-US"/>
            </a:defPPr>
            <a:lvl1pPr algn="ctr">
              <a:defRPr sz="900">
                <a:solidFill>
                  <a:srgbClr val="00338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defTabSz="342905"/>
            <a:r>
              <a:rPr lang="ru-RU" sz="675" dirty="0">
                <a:solidFill>
                  <a:srgbClr val="00B050"/>
                </a:solidFill>
              </a:rPr>
              <a:t>Инфраструктуры для обеспечения движения беспилотных транспортных средств</a:t>
            </a:r>
          </a:p>
        </p:txBody>
      </p:sp>
      <p:grpSp>
        <p:nvGrpSpPr>
          <p:cNvPr id="163" name="Group 95">
            <a:extLst>
              <a:ext uri="{FF2B5EF4-FFF2-40B4-BE49-F238E27FC236}">
                <a16:creationId xmlns:a16="http://schemas.microsoft.com/office/drawing/2014/main" id="{12D0A1F6-5DD5-4A58-B72B-A2F4A1CD4AAA}"/>
              </a:ext>
            </a:extLst>
          </p:cNvPr>
          <p:cNvGrpSpPr/>
          <p:nvPr/>
        </p:nvGrpSpPr>
        <p:grpSpPr>
          <a:xfrm>
            <a:off x="2878617" y="2217354"/>
            <a:ext cx="312286" cy="116942"/>
            <a:chOff x="3476625" y="542921"/>
            <a:chExt cx="6486524" cy="2429025"/>
          </a:xfrm>
          <a:solidFill>
            <a:srgbClr val="1FB965"/>
          </a:solidFill>
        </p:grpSpPr>
        <p:sp>
          <p:nvSpPr>
            <p:cNvPr id="164" name="Freeform: Shape 96">
              <a:extLst>
                <a:ext uri="{FF2B5EF4-FFF2-40B4-BE49-F238E27FC236}">
                  <a16:creationId xmlns:a16="http://schemas.microsoft.com/office/drawing/2014/main" id="{468A454A-E795-4923-BA4C-FE5FF2317393}"/>
                </a:ext>
              </a:extLst>
            </p:cNvPr>
            <p:cNvSpPr/>
            <p:nvPr/>
          </p:nvSpPr>
          <p:spPr>
            <a:xfrm>
              <a:off x="3476625" y="542921"/>
              <a:ext cx="6486524" cy="2429025"/>
            </a:xfrm>
            <a:custGeom>
              <a:avLst/>
              <a:gdLst>
                <a:gd name="connsiteX0" fmla="*/ 6316038 w 6486524"/>
                <a:gd name="connsiteY0" fmla="*/ 1021404 h 2429025"/>
                <a:gd name="connsiteX1" fmla="*/ 5071260 w 6486524"/>
                <a:gd name="connsiteY1" fmla="*/ 712290 h 2429025"/>
                <a:gd name="connsiteX2" fmla="*/ 4990792 w 6486524"/>
                <a:gd name="connsiteY2" fmla="*/ 712290 h 2429025"/>
                <a:gd name="connsiteX3" fmla="*/ 3711125 w 6486524"/>
                <a:gd name="connsiteY3" fmla="*/ 113947 h 2429025"/>
                <a:gd name="connsiteX4" fmla="*/ 3198575 w 6486524"/>
                <a:gd name="connsiteY4" fmla="*/ 0 h 2429025"/>
                <a:gd name="connsiteX5" fmla="*/ 2068956 w 6486524"/>
                <a:gd name="connsiteY5" fmla="*/ 0 h 2429025"/>
                <a:gd name="connsiteX6" fmla="*/ 1751489 w 6486524"/>
                <a:gd name="connsiteY6" fmla="*/ 65254 h 2429025"/>
                <a:gd name="connsiteX7" fmla="*/ 578765 w 6486524"/>
                <a:gd name="connsiteY7" fmla="*/ 568840 h 2429025"/>
                <a:gd name="connsiteX8" fmla="*/ 376160 w 6486524"/>
                <a:gd name="connsiteY8" fmla="*/ 610541 h 2429025"/>
                <a:gd name="connsiteX9" fmla="*/ 298117 w 6486524"/>
                <a:gd name="connsiteY9" fmla="*/ 610541 h 2429025"/>
                <a:gd name="connsiteX10" fmla="*/ 0 w 6486524"/>
                <a:gd name="connsiteY10" fmla="*/ 909242 h 2429025"/>
                <a:gd name="connsiteX11" fmla="*/ 0 w 6486524"/>
                <a:gd name="connsiteY11" fmla="*/ 1555534 h 2429025"/>
                <a:gd name="connsiteX12" fmla="*/ 241206 w 6486524"/>
                <a:gd name="connsiteY12" fmla="*/ 1848731 h 2429025"/>
                <a:gd name="connsiteX13" fmla="*/ 617218 w 6486524"/>
                <a:gd name="connsiteY13" fmla="*/ 1922018 h 2429025"/>
                <a:gd name="connsiteX14" fmla="*/ 1212116 w 6486524"/>
                <a:gd name="connsiteY14" fmla="*/ 2429026 h 2429025"/>
                <a:gd name="connsiteX15" fmla="*/ 1735702 w 6486524"/>
                <a:gd name="connsiteY15" fmla="*/ 2123730 h 2429025"/>
                <a:gd name="connsiteX16" fmla="*/ 4953923 w 6486524"/>
                <a:gd name="connsiteY16" fmla="*/ 2123730 h 2429025"/>
                <a:gd name="connsiteX17" fmla="*/ 5477509 w 6486524"/>
                <a:gd name="connsiteY17" fmla="*/ 2429026 h 2429025"/>
                <a:gd name="connsiteX18" fmla="*/ 6001095 w 6486524"/>
                <a:gd name="connsiteY18" fmla="*/ 2123730 h 2429025"/>
                <a:gd name="connsiteX19" fmla="*/ 6188408 w 6486524"/>
                <a:gd name="connsiteY19" fmla="*/ 2123730 h 2429025"/>
                <a:gd name="connsiteX20" fmla="*/ 6486525 w 6486524"/>
                <a:gd name="connsiteY20" fmla="*/ 1825029 h 2429025"/>
                <a:gd name="connsiteX21" fmla="*/ 6486525 w 6486524"/>
                <a:gd name="connsiteY21" fmla="*/ 1349756 h 2429025"/>
                <a:gd name="connsiteX22" fmla="*/ 6316038 w 6486524"/>
                <a:gd name="connsiteY22" fmla="*/ 1021404 h 2429025"/>
                <a:gd name="connsiteX23" fmla="*/ 3630756 w 6486524"/>
                <a:gd name="connsiteY23" fmla="*/ 286503 h 2429025"/>
                <a:gd name="connsiteX24" fmla="*/ 4541439 w 6486524"/>
                <a:gd name="connsiteY24" fmla="*/ 712290 h 2429025"/>
                <a:gd name="connsiteX25" fmla="*/ 3185411 w 6486524"/>
                <a:gd name="connsiteY25" fmla="*/ 712290 h 2429025"/>
                <a:gd name="connsiteX26" fmla="*/ 2738928 w 6486524"/>
                <a:gd name="connsiteY26" fmla="*/ 190407 h 2429025"/>
                <a:gd name="connsiteX27" fmla="*/ 3198525 w 6486524"/>
                <a:gd name="connsiteY27" fmla="*/ 190407 h 2429025"/>
                <a:gd name="connsiteX28" fmla="*/ 3630756 w 6486524"/>
                <a:gd name="connsiteY28" fmla="*/ 286503 h 2429025"/>
                <a:gd name="connsiteX29" fmla="*/ 2488666 w 6486524"/>
                <a:gd name="connsiteY29" fmla="*/ 190407 h 2429025"/>
                <a:gd name="connsiteX30" fmla="*/ 2935149 w 6486524"/>
                <a:gd name="connsiteY30" fmla="*/ 712290 h 2429025"/>
                <a:gd name="connsiteX31" fmla="*/ 2774064 w 6486524"/>
                <a:gd name="connsiteY31" fmla="*/ 712290 h 2429025"/>
                <a:gd name="connsiteX32" fmla="*/ 2614861 w 6486524"/>
                <a:gd name="connsiteY32" fmla="*/ 638904 h 2429025"/>
                <a:gd name="connsiteX33" fmla="*/ 2231178 w 6486524"/>
                <a:gd name="connsiteY33" fmla="*/ 190407 h 2429025"/>
                <a:gd name="connsiteX34" fmla="*/ 1805035 w 6486524"/>
                <a:gd name="connsiteY34" fmla="*/ 1933323 h 2429025"/>
                <a:gd name="connsiteX35" fmla="*/ 1814932 w 6486524"/>
                <a:gd name="connsiteY35" fmla="*/ 1825029 h 2429025"/>
                <a:gd name="connsiteX36" fmla="*/ 1802857 w 6486524"/>
                <a:gd name="connsiteY36" fmla="*/ 1704339 h 2429025"/>
                <a:gd name="connsiteX37" fmla="*/ 1690865 w 6486524"/>
                <a:gd name="connsiteY37" fmla="*/ 1629962 h 2429025"/>
                <a:gd name="connsiteX38" fmla="*/ 1616633 w 6486524"/>
                <a:gd name="connsiteY38" fmla="*/ 1742222 h 2429025"/>
                <a:gd name="connsiteX39" fmla="*/ 1624898 w 6486524"/>
                <a:gd name="connsiteY39" fmla="*/ 1825029 h 2429025"/>
                <a:gd name="connsiteX40" fmla="*/ 1212116 w 6486524"/>
                <a:gd name="connsiteY40" fmla="*/ 2238569 h 2429025"/>
                <a:gd name="connsiteX41" fmla="*/ 799384 w 6486524"/>
                <a:gd name="connsiteY41" fmla="*/ 1825029 h 2429025"/>
                <a:gd name="connsiteX42" fmla="*/ 1212116 w 6486524"/>
                <a:gd name="connsiteY42" fmla="*/ 1411440 h 2429025"/>
                <a:gd name="connsiteX43" fmla="*/ 1377704 w 6486524"/>
                <a:gd name="connsiteY43" fmla="*/ 1446050 h 2429025"/>
                <a:gd name="connsiteX44" fmla="*/ 1502859 w 6486524"/>
                <a:gd name="connsiteY44" fmla="*/ 1397060 h 2429025"/>
                <a:gd name="connsiteX45" fmla="*/ 1454015 w 6486524"/>
                <a:gd name="connsiteY45" fmla="*/ 1271660 h 2429025"/>
                <a:gd name="connsiteX46" fmla="*/ 1212116 w 6486524"/>
                <a:gd name="connsiteY46" fmla="*/ 1221033 h 2429025"/>
                <a:gd name="connsiteX47" fmla="*/ 617218 w 6486524"/>
                <a:gd name="connsiteY47" fmla="*/ 1728041 h 2429025"/>
                <a:gd name="connsiteX48" fmla="*/ 277481 w 6486524"/>
                <a:gd name="connsiteY48" fmla="*/ 1661845 h 2429025"/>
                <a:gd name="connsiteX49" fmla="*/ 189985 w 6486524"/>
                <a:gd name="connsiteY49" fmla="*/ 1555534 h 2429025"/>
                <a:gd name="connsiteX50" fmla="*/ 189985 w 6486524"/>
                <a:gd name="connsiteY50" fmla="*/ 1207943 h 2429025"/>
                <a:gd name="connsiteX51" fmla="*/ 298117 w 6486524"/>
                <a:gd name="connsiteY51" fmla="*/ 1207943 h 2429025"/>
                <a:gd name="connsiteX52" fmla="*/ 393135 w 6486524"/>
                <a:gd name="connsiteY52" fmla="*/ 1112739 h 2429025"/>
                <a:gd name="connsiteX53" fmla="*/ 298117 w 6486524"/>
                <a:gd name="connsiteY53" fmla="*/ 1017536 h 2429025"/>
                <a:gd name="connsiteX54" fmla="*/ 190035 w 6486524"/>
                <a:gd name="connsiteY54" fmla="*/ 1017536 h 2429025"/>
                <a:gd name="connsiteX55" fmla="*/ 190035 w 6486524"/>
                <a:gd name="connsiteY55" fmla="*/ 909242 h 2429025"/>
                <a:gd name="connsiteX56" fmla="*/ 298117 w 6486524"/>
                <a:gd name="connsiteY56" fmla="*/ 800948 h 2429025"/>
                <a:gd name="connsiteX57" fmla="*/ 376160 w 6486524"/>
                <a:gd name="connsiteY57" fmla="*/ 800948 h 2429025"/>
                <a:gd name="connsiteX58" fmla="*/ 653641 w 6486524"/>
                <a:gd name="connsiteY58" fmla="*/ 743876 h 2429025"/>
                <a:gd name="connsiteX59" fmla="*/ 1826315 w 6486524"/>
                <a:gd name="connsiteY59" fmla="*/ 240289 h 2429025"/>
                <a:gd name="connsiteX60" fmla="*/ 1985815 w 6486524"/>
                <a:gd name="connsiteY60" fmla="*/ 196159 h 2429025"/>
                <a:gd name="connsiteX61" fmla="*/ 2470602 w 6486524"/>
                <a:gd name="connsiteY61" fmla="*/ 762817 h 2429025"/>
                <a:gd name="connsiteX62" fmla="*/ 2774064 w 6486524"/>
                <a:gd name="connsiteY62" fmla="*/ 902697 h 2429025"/>
                <a:gd name="connsiteX63" fmla="*/ 5071260 w 6486524"/>
                <a:gd name="connsiteY63" fmla="*/ 902697 h 2429025"/>
                <a:gd name="connsiteX64" fmla="*/ 6113928 w 6486524"/>
                <a:gd name="connsiteY64" fmla="*/ 1119285 h 2429025"/>
                <a:gd name="connsiteX65" fmla="*/ 6086858 w 6486524"/>
                <a:gd name="connsiteY65" fmla="*/ 1119285 h 2429025"/>
                <a:gd name="connsiteX66" fmla="*/ 5991841 w 6486524"/>
                <a:gd name="connsiteY66" fmla="*/ 1214488 h 2429025"/>
                <a:gd name="connsiteX67" fmla="*/ 6086858 w 6486524"/>
                <a:gd name="connsiteY67" fmla="*/ 1309691 h 2429025"/>
                <a:gd name="connsiteX68" fmla="*/ 6292581 w 6486524"/>
                <a:gd name="connsiteY68" fmla="*/ 1309691 h 2429025"/>
                <a:gd name="connsiteX69" fmla="*/ 6296490 w 6486524"/>
                <a:gd name="connsiteY69" fmla="*/ 1349756 h 2429025"/>
                <a:gd name="connsiteX70" fmla="*/ 6296490 w 6486524"/>
                <a:gd name="connsiteY70" fmla="*/ 1526329 h 2429025"/>
                <a:gd name="connsiteX71" fmla="*/ 6001095 w 6486524"/>
                <a:gd name="connsiteY71" fmla="*/ 1526329 h 2429025"/>
                <a:gd name="connsiteX72" fmla="*/ 5477509 w 6486524"/>
                <a:gd name="connsiteY72" fmla="*/ 1221083 h 2429025"/>
                <a:gd name="connsiteX73" fmla="*/ 4953923 w 6486524"/>
                <a:gd name="connsiteY73" fmla="*/ 1526329 h 2429025"/>
                <a:gd name="connsiteX74" fmla="*/ 4766660 w 6486524"/>
                <a:gd name="connsiteY74" fmla="*/ 1526329 h 2429025"/>
                <a:gd name="connsiteX75" fmla="*/ 4671642 w 6486524"/>
                <a:gd name="connsiteY75" fmla="*/ 1621532 h 2429025"/>
                <a:gd name="connsiteX76" fmla="*/ 4766660 w 6486524"/>
                <a:gd name="connsiteY76" fmla="*/ 1716736 h 2429025"/>
                <a:gd name="connsiteX77" fmla="*/ 4884590 w 6486524"/>
                <a:gd name="connsiteY77" fmla="*/ 1716736 h 2429025"/>
                <a:gd name="connsiteX78" fmla="*/ 4874693 w 6486524"/>
                <a:gd name="connsiteY78" fmla="*/ 1825029 h 2429025"/>
                <a:gd name="connsiteX79" fmla="*/ 4884590 w 6486524"/>
                <a:gd name="connsiteY79" fmla="*/ 1933323 h 2429025"/>
                <a:gd name="connsiteX80" fmla="*/ 5477509 w 6486524"/>
                <a:gd name="connsiteY80" fmla="*/ 2238569 h 2429025"/>
                <a:gd name="connsiteX81" fmla="*/ 5064728 w 6486524"/>
                <a:gd name="connsiteY81" fmla="*/ 1825029 h 2429025"/>
                <a:gd name="connsiteX82" fmla="*/ 5477509 w 6486524"/>
                <a:gd name="connsiteY82" fmla="*/ 1411440 h 2429025"/>
                <a:gd name="connsiteX83" fmla="*/ 5890291 w 6486524"/>
                <a:gd name="connsiteY83" fmla="*/ 1825029 h 2429025"/>
                <a:gd name="connsiteX84" fmla="*/ 5477509 w 6486524"/>
                <a:gd name="connsiteY84" fmla="*/ 2238569 h 2429025"/>
                <a:gd name="connsiteX85" fmla="*/ 6188408 w 6486524"/>
                <a:gd name="connsiteY85" fmla="*/ 1933323 h 2429025"/>
                <a:gd name="connsiteX86" fmla="*/ 6070428 w 6486524"/>
                <a:gd name="connsiteY86" fmla="*/ 1933323 h 2429025"/>
                <a:gd name="connsiteX87" fmla="*/ 6080326 w 6486524"/>
                <a:gd name="connsiteY87" fmla="*/ 1825029 h 2429025"/>
                <a:gd name="connsiteX88" fmla="*/ 6070428 w 6486524"/>
                <a:gd name="connsiteY88" fmla="*/ 1716736 h 2429025"/>
                <a:gd name="connsiteX89" fmla="*/ 6296490 w 6486524"/>
                <a:gd name="connsiteY89" fmla="*/ 1716736 h 2429025"/>
                <a:gd name="connsiteX90" fmla="*/ 6296490 w 6486524"/>
                <a:gd name="connsiteY90" fmla="*/ 1825029 h 2429025"/>
                <a:gd name="connsiteX91" fmla="*/ 6188408 w 6486524"/>
                <a:gd name="connsiteY91" fmla="*/ 1933323 h 24290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</a:cxnLst>
              <a:rect l="l" t="t" r="r" b="b"/>
              <a:pathLst>
                <a:path w="6486524" h="2429025">
                  <a:moveTo>
                    <a:pt x="6316038" y="1021404"/>
                  </a:moveTo>
                  <a:cubicBezTo>
                    <a:pt x="5952497" y="765892"/>
                    <a:pt x="5438463" y="712290"/>
                    <a:pt x="5071260" y="712290"/>
                  </a:cubicBezTo>
                  <a:lnTo>
                    <a:pt x="4990792" y="712290"/>
                  </a:lnTo>
                  <a:lnTo>
                    <a:pt x="3711125" y="113947"/>
                  </a:lnTo>
                  <a:cubicBezTo>
                    <a:pt x="3551723" y="39371"/>
                    <a:pt x="3374456" y="0"/>
                    <a:pt x="3198575" y="0"/>
                  </a:cubicBezTo>
                  <a:lnTo>
                    <a:pt x="2068956" y="0"/>
                  </a:lnTo>
                  <a:cubicBezTo>
                    <a:pt x="1959191" y="0"/>
                    <a:pt x="1852395" y="21966"/>
                    <a:pt x="1751489" y="65254"/>
                  </a:cubicBezTo>
                  <a:lnTo>
                    <a:pt x="578765" y="568840"/>
                  </a:lnTo>
                  <a:cubicBezTo>
                    <a:pt x="514381" y="596509"/>
                    <a:pt x="446236" y="610541"/>
                    <a:pt x="376160" y="610541"/>
                  </a:cubicBezTo>
                  <a:lnTo>
                    <a:pt x="298117" y="610541"/>
                  </a:lnTo>
                  <a:cubicBezTo>
                    <a:pt x="133767" y="610492"/>
                    <a:pt x="0" y="744520"/>
                    <a:pt x="0" y="909242"/>
                  </a:cubicBezTo>
                  <a:lnTo>
                    <a:pt x="0" y="1555534"/>
                  </a:lnTo>
                  <a:cubicBezTo>
                    <a:pt x="0" y="1698191"/>
                    <a:pt x="101451" y="1821509"/>
                    <a:pt x="241206" y="1848731"/>
                  </a:cubicBezTo>
                  <a:lnTo>
                    <a:pt x="617218" y="1922018"/>
                  </a:lnTo>
                  <a:cubicBezTo>
                    <a:pt x="663687" y="2209116"/>
                    <a:pt x="912712" y="2429026"/>
                    <a:pt x="1212116" y="2429026"/>
                  </a:cubicBezTo>
                  <a:cubicBezTo>
                    <a:pt x="1436100" y="2429026"/>
                    <a:pt x="1631776" y="2305906"/>
                    <a:pt x="1735702" y="2123730"/>
                  </a:cubicBezTo>
                  <a:lnTo>
                    <a:pt x="4953923" y="2123730"/>
                  </a:lnTo>
                  <a:cubicBezTo>
                    <a:pt x="5057849" y="2305906"/>
                    <a:pt x="5253525" y="2429026"/>
                    <a:pt x="5477509" y="2429026"/>
                  </a:cubicBezTo>
                  <a:cubicBezTo>
                    <a:pt x="5701444" y="2429026"/>
                    <a:pt x="5897170" y="2305906"/>
                    <a:pt x="6001095" y="2123730"/>
                  </a:cubicBezTo>
                  <a:lnTo>
                    <a:pt x="6188408" y="2123730"/>
                  </a:lnTo>
                  <a:cubicBezTo>
                    <a:pt x="6352758" y="2123730"/>
                    <a:pt x="6486525" y="1989751"/>
                    <a:pt x="6486525" y="1825029"/>
                  </a:cubicBezTo>
                  <a:lnTo>
                    <a:pt x="6486525" y="1349756"/>
                  </a:lnTo>
                  <a:cubicBezTo>
                    <a:pt x="6486525" y="1219199"/>
                    <a:pt x="6422784" y="1096426"/>
                    <a:pt x="6316038" y="1021404"/>
                  </a:cubicBezTo>
                  <a:close/>
                  <a:moveTo>
                    <a:pt x="3630756" y="286503"/>
                  </a:moveTo>
                  <a:lnTo>
                    <a:pt x="4541439" y="712290"/>
                  </a:lnTo>
                  <a:lnTo>
                    <a:pt x="3185411" y="712290"/>
                  </a:lnTo>
                  <a:lnTo>
                    <a:pt x="2738928" y="190407"/>
                  </a:lnTo>
                  <a:lnTo>
                    <a:pt x="3198525" y="190407"/>
                  </a:lnTo>
                  <a:cubicBezTo>
                    <a:pt x="3346891" y="190407"/>
                    <a:pt x="3496346" y="223629"/>
                    <a:pt x="3630756" y="286503"/>
                  </a:cubicBezTo>
                  <a:close/>
                  <a:moveTo>
                    <a:pt x="2488666" y="190407"/>
                  </a:moveTo>
                  <a:lnTo>
                    <a:pt x="2935149" y="712290"/>
                  </a:lnTo>
                  <a:lnTo>
                    <a:pt x="2774064" y="712290"/>
                  </a:lnTo>
                  <a:cubicBezTo>
                    <a:pt x="2712798" y="712290"/>
                    <a:pt x="2654748" y="685564"/>
                    <a:pt x="2614861" y="638904"/>
                  </a:cubicBezTo>
                  <a:lnTo>
                    <a:pt x="2231178" y="190407"/>
                  </a:lnTo>
                  <a:close/>
                  <a:moveTo>
                    <a:pt x="1805035" y="1933323"/>
                  </a:moveTo>
                  <a:cubicBezTo>
                    <a:pt x="1811419" y="1898167"/>
                    <a:pt x="1814932" y="1862020"/>
                    <a:pt x="1814932" y="1825029"/>
                  </a:cubicBezTo>
                  <a:cubicBezTo>
                    <a:pt x="1814932" y="1784469"/>
                    <a:pt x="1810874" y="1743859"/>
                    <a:pt x="1802857" y="1704339"/>
                  </a:cubicBezTo>
                  <a:cubicBezTo>
                    <a:pt x="1792415" y="1652820"/>
                    <a:pt x="1742284" y="1619549"/>
                    <a:pt x="1690865" y="1629962"/>
                  </a:cubicBezTo>
                  <a:cubicBezTo>
                    <a:pt x="1639398" y="1640424"/>
                    <a:pt x="1606191" y="1690703"/>
                    <a:pt x="1616633" y="1742222"/>
                  </a:cubicBezTo>
                  <a:cubicBezTo>
                    <a:pt x="1622126" y="1769246"/>
                    <a:pt x="1624898" y="1797113"/>
                    <a:pt x="1624898" y="1825029"/>
                  </a:cubicBezTo>
                  <a:cubicBezTo>
                    <a:pt x="1624898" y="2053071"/>
                    <a:pt x="1439712" y="2238569"/>
                    <a:pt x="1212116" y="2238569"/>
                  </a:cubicBezTo>
                  <a:cubicBezTo>
                    <a:pt x="984519" y="2238569"/>
                    <a:pt x="799384" y="2053071"/>
                    <a:pt x="799384" y="1825029"/>
                  </a:cubicBezTo>
                  <a:cubicBezTo>
                    <a:pt x="799384" y="1596988"/>
                    <a:pt x="984519" y="1411440"/>
                    <a:pt x="1212116" y="1411440"/>
                  </a:cubicBezTo>
                  <a:cubicBezTo>
                    <a:pt x="1269770" y="1411440"/>
                    <a:pt x="1325444" y="1423093"/>
                    <a:pt x="1377704" y="1446050"/>
                  </a:cubicBezTo>
                  <a:cubicBezTo>
                    <a:pt x="1425707" y="1467124"/>
                    <a:pt x="1481777" y="1445208"/>
                    <a:pt x="1502859" y="1397060"/>
                  </a:cubicBezTo>
                  <a:cubicBezTo>
                    <a:pt x="1523941" y="1348913"/>
                    <a:pt x="1502068" y="1292783"/>
                    <a:pt x="1454015" y="1271660"/>
                  </a:cubicBezTo>
                  <a:cubicBezTo>
                    <a:pt x="1377555" y="1238091"/>
                    <a:pt x="1296147" y="1221033"/>
                    <a:pt x="1212116" y="1221033"/>
                  </a:cubicBezTo>
                  <a:cubicBezTo>
                    <a:pt x="912712" y="1221033"/>
                    <a:pt x="663687" y="1440943"/>
                    <a:pt x="617218" y="1728041"/>
                  </a:cubicBezTo>
                  <a:lnTo>
                    <a:pt x="277481" y="1661845"/>
                  </a:lnTo>
                  <a:cubicBezTo>
                    <a:pt x="226805" y="1651977"/>
                    <a:pt x="189985" y="1607252"/>
                    <a:pt x="189985" y="1555534"/>
                  </a:cubicBezTo>
                  <a:lnTo>
                    <a:pt x="189985" y="1207943"/>
                  </a:lnTo>
                  <a:lnTo>
                    <a:pt x="298117" y="1207943"/>
                  </a:lnTo>
                  <a:cubicBezTo>
                    <a:pt x="350575" y="1207943"/>
                    <a:pt x="393135" y="1165300"/>
                    <a:pt x="393135" y="1112739"/>
                  </a:cubicBezTo>
                  <a:cubicBezTo>
                    <a:pt x="393135" y="1060179"/>
                    <a:pt x="350575" y="1017536"/>
                    <a:pt x="298117" y="1017536"/>
                  </a:cubicBezTo>
                  <a:lnTo>
                    <a:pt x="190035" y="1017536"/>
                  </a:lnTo>
                  <a:lnTo>
                    <a:pt x="190035" y="909242"/>
                  </a:lnTo>
                  <a:cubicBezTo>
                    <a:pt x="190035" y="849492"/>
                    <a:pt x="238533" y="800948"/>
                    <a:pt x="298117" y="800948"/>
                  </a:cubicBezTo>
                  <a:lnTo>
                    <a:pt x="376160" y="800948"/>
                  </a:lnTo>
                  <a:cubicBezTo>
                    <a:pt x="472118" y="800948"/>
                    <a:pt x="565453" y="781709"/>
                    <a:pt x="653641" y="743876"/>
                  </a:cubicBezTo>
                  <a:lnTo>
                    <a:pt x="1826315" y="240289"/>
                  </a:lnTo>
                  <a:cubicBezTo>
                    <a:pt x="1877733" y="218224"/>
                    <a:pt x="1931131" y="203596"/>
                    <a:pt x="1985815" y="196159"/>
                  </a:cubicBezTo>
                  <a:lnTo>
                    <a:pt x="2470602" y="762817"/>
                  </a:lnTo>
                  <a:cubicBezTo>
                    <a:pt x="2546616" y="851723"/>
                    <a:pt x="2657223" y="902697"/>
                    <a:pt x="2774064" y="902697"/>
                  </a:cubicBezTo>
                  <a:lnTo>
                    <a:pt x="5071260" y="902697"/>
                  </a:lnTo>
                  <a:cubicBezTo>
                    <a:pt x="5325184" y="902697"/>
                    <a:pt x="5778249" y="932498"/>
                    <a:pt x="6113928" y="1119285"/>
                  </a:cubicBezTo>
                  <a:lnTo>
                    <a:pt x="6086858" y="1119285"/>
                  </a:lnTo>
                  <a:cubicBezTo>
                    <a:pt x="6034351" y="1119285"/>
                    <a:pt x="5991841" y="1161928"/>
                    <a:pt x="5991841" y="1214488"/>
                  </a:cubicBezTo>
                  <a:cubicBezTo>
                    <a:pt x="5991841" y="1267098"/>
                    <a:pt x="6034351" y="1309691"/>
                    <a:pt x="6086858" y="1309691"/>
                  </a:cubicBezTo>
                  <a:lnTo>
                    <a:pt x="6292581" y="1309691"/>
                  </a:lnTo>
                  <a:cubicBezTo>
                    <a:pt x="6295105" y="1322782"/>
                    <a:pt x="6296490" y="1336170"/>
                    <a:pt x="6296490" y="1349756"/>
                  </a:cubicBezTo>
                  <a:lnTo>
                    <a:pt x="6296490" y="1526329"/>
                  </a:lnTo>
                  <a:lnTo>
                    <a:pt x="6001095" y="1526329"/>
                  </a:lnTo>
                  <a:cubicBezTo>
                    <a:pt x="5897170" y="1344153"/>
                    <a:pt x="5701493" y="1221083"/>
                    <a:pt x="5477509" y="1221083"/>
                  </a:cubicBezTo>
                  <a:cubicBezTo>
                    <a:pt x="5253525" y="1221083"/>
                    <a:pt x="5057849" y="1344153"/>
                    <a:pt x="4953923" y="1526329"/>
                  </a:cubicBezTo>
                  <a:lnTo>
                    <a:pt x="4766660" y="1526329"/>
                  </a:lnTo>
                  <a:cubicBezTo>
                    <a:pt x="4714153" y="1526329"/>
                    <a:pt x="4671642" y="1568922"/>
                    <a:pt x="4671642" y="1621532"/>
                  </a:cubicBezTo>
                  <a:cubicBezTo>
                    <a:pt x="4671642" y="1674092"/>
                    <a:pt x="4714153" y="1716736"/>
                    <a:pt x="4766660" y="1716736"/>
                  </a:cubicBezTo>
                  <a:lnTo>
                    <a:pt x="4884590" y="1716736"/>
                  </a:lnTo>
                  <a:cubicBezTo>
                    <a:pt x="4878206" y="1751891"/>
                    <a:pt x="4874693" y="1788039"/>
                    <a:pt x="4874693" y="1825029"/>
                  </a:cubicBezTo>
                  <a:cubicBezTo>
                    <a:pt x="4874693" y="1862020"/>
                    <a:pt x="4878206" y="1898167"/>
                    <a:pt x="4884590" y="1933323"/>
                  </a:cubicBezTo>
                  <a:close/>
                  <a:moveTo>
                    <a:pt x="5477509" y="2238569"/>
                  </a:moveTo>
                  <a:cubicBezTo>
                    <a:pt x="5249913" y="2238569"/>
                    <a:pt x="5064728" y="2053071"/>
                    <a:pt x="5064728" y="1825029"/>
                  </a:cubicBezTo>
                  <a:cubicBezTo>
                    <a:pt x="5064728" y="1596988"/>
                    <a:pt x="5249913" y="1411440"/>
                    <a:pt x="5477509" y="1411440"/>
                  </a:cubicBezTo>
                  <a:cubicBezTo>
                    <a:pt x="5705106" y="1411440"/>
                    <a:pt x="5890291" y="1596988"/>
                    <a:pt x="5890291" y="1825029"/>
                  </a:cubicBezTo>
                  <a:cubicBezTo>
                    <a:pt x="5890291" y="2053071"/>
                    <a:pt x="5705106" y="2238569"/>
                    <a:pt x="5477509" y="2238569"/>
                  </a:cubicBezTo>
                  <a:close/>
                  <a:moveTo>
                    <a:pt x="6188408" y="1933323"/>
                  </a:moveTo>
                  <a:lnTo>
                    <a:pt x="6070428" y="1933323"/>
                  </a:lnTo>
                  <a:cubicBezTo>
                    <a:pt x="6076812" y="1898167"/>
                    <a:pt x="6080326" y="1862020"/>
                    <a:pt x="6080326" y="1825029"/>
                  </a:cubicBezTo>
                  <a:cubicBezTo>
                    <a:pt x="6080326" y="1788039"/>
                    <a:pt x="6076812" y="1751891"/>
                    <a:pt x="6070428" y="1716736"/>
                  </a:cubicBezTo>
                  <a:lnTo>
                    <a:pt x="6296490" y="1716736"/>
                  </a:lnTo>
                  <a:lnTo>
                    <a:pt x="6296490" y="1825029"/>
                  </a:lnTo>
                  <a:cubicBezTo>
                    <a:pt x="6296490" y="1884730"/>
                    <a:pt x="6247992" y="1933323"/>
                    <a:pt x="6188408" y="1933323"/>
                  </a:cubicBezTo>
                  <a:close/>
                </a:path>
              </a:pathLst>
            </a:custGeom>
            <a:grpFill/>
            <a:ln w="1266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342905"/>
              <a:endParaRPr lang="ru-RU">
                <a:solidFill>
                  <a:srgbClr val="00B050"/>
                </a:solidFill>
                <a:latin typeface="Calibri" panose="020F0502020204030204"/>
              </a:endParaRPr>
            </a:p>
          </p:txBody>
        </p:sp>
        <p:sp>
          <p:nvSpPr>
            <p:cNvPr id="165" name="Freeform: Shape 97">
              <a:extLst>
                <a:ext uri="{FF2B5EF4-FFF2-40B4-BE49-F238E27FC236}">
                  <a16:creationId xmlns:a16="http://schemas.microsoft.com/office/drawing/2014/main" id="{5BAFE096-2C9D-497F-A202-DF6C004B5353}"/>
                </a:ext>
              </a:extLst>
            </p:cNvPr>
            <p:cNvSpPr/>
            <p:nvPr/>
          </p:nvSpPr>
          <p:spPr>
            <a:xfrm>
              <a:off x="5609304" y="1662206"/>
              <a:ext cx="2322748" cy="597450"/>
            </a:xfrm>
            <a:custGeom>
              <a:avLst/>
              <a:gdLst>
                <a:gd name="connsiteX0" fmla="*/ 2227731 w 2322748"/>
                <a:gd name="connsiteY0" fmla="*/ 407044 h 597450"/>
                <a:gd name="connsiteX1" fmla="*/ 954992 w 2322748"/>
                <a:gd name="connsiteY1" fmla="*/ 407044 h 597450"/>
                <a:gd name="connsiteX2" fmla="*/ 739768 w 2322748"/>
                <a:gd name="connsiteY2" fmla="*/ 119500 h 597450"/>
                <a:gd name="connsiteX3" fmla="*/ 501234 w 2322748"/>
                <a:gd name="connsiteY3" fmla="*/ 0 h 597450"/>
                <a:gd name="connsiteX4" fmla="*/ 95035 w 2322748"/>
                <a:gd name="connsiteY4" fmla="*/ 0 h 597450"/>
                <a:gd name="connsiteX5" fmla="*/ 10063 w 2322748"/>
                <a:gd name="connsiteY5" fmla="*/ 52659 h 597450"/>
                <a:gd name="connsiteX6" fmla="*/ 19021 w 2322748"/>
                <a:gd name="connsiteY6" fmla="*/ 152325 h 597450"/>
                <a:gd name="connsiteX7" fmla="*/ 262750 w 2322748"/>
                <a:gd name="connsiteY7" fmla="*/ 477951 h 597450"/>
                <a:gd name="connsiteX8" fmla="*/ 501234 w 2322748"/>
                <a:gd name="connsiteY8" fmla="*/ 597451 h 597450"/>
                <a:gd name="connsiteX9" fmla="*/ 2227731 w 2322748"/>
                <a:gd name="connsiteY9" fmla="*/ 597451 h 597450"/>
                <a:gd name="connsiteX10" fmla="*/ 2322749 w 2322748"/>
                <a:gd name="connsiteY10" fmla="*/ 502248 h 597450"/>
                <a:gd name="connsiteX11" fmla="*/ 2227731 w 2322748"/>
                <a:gd name="connsiteY11" fmla="*/ 407044 h 597450"/>
                <a:gd name="connsiteX12" fmla="*/ 501234 w 2322748"/>
                <a:gd name="connsiteY12" fmla="*/ 407044 h 597450"/>
                <a:gd name="connsiteX13" fmla="*/ 414778 w 2322748"/>
                <a:gd name="connsiteY13" fmla="*/ 363707 h 597450"/>
                <a:gd name="connsiteX14" fmla="*/ 285070 w 2322748"/>
                <a:gd name="connsiteY14" fmla="*/ 190407 h 597450"/>
                <a:gd name="connsiteX15" fmla="*/ 501234 w 2322748"/>
                <a:gd name="connsiteY15" fmla="*/ 190407 h 597450"/>
                <a:gd name="connsiteX16" fmla="*/ 587740 w 2322748"/>
                <a:gd name="connsiteY16" fmla="*/ 233744 h 597450"/>
                <a:gd name="connsiteX17" fmla="*/ 717449 w 2322748"/>
                <a:gd name="connsiteY17" fmla="*/ 407044 h 597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2322748" h="597450">
                  <a:moveTo>
                    <a:pt x="2227731" y="407044"/>
                  </a:moveTo>
                  <a:lnTo>
                    <a:pt x="954992" y="407044"/>
                  </a:lnTo>
                  <a:lnTo>
                    <a:pt x="739768" y="119500"/>
                  </a:lnTo>
                  <a:cubicBezTo>
                    <a:pt x="683747" y="44676"/>
                    <a:pt x="594569" y="0"/>
                    <a:pt x="501234" y="0"/>
                  </a:cubicBezTo>
                  <a:lnTo>
                    <a:pt x="95035" y="0"/>
                  </a:lnTo>
                  <a:cubicBezTo>
                    <a:pt x="59007" y="0"/>
                    <a:pt x="26147" y="20379"/>
                    <a:pt x="10063" y="52659"/>
                  </a:cubicBezTo>
                  <a:cubicBezTo>
                    <a:pt x="-6070" y="84890"/>
                    <a:pt x="-2606" y="123516"/>
                    <a:pt x="19021" y="152325"/>
                  </a:cubicBezTo>
                  <a:lnTo>
                    <a:pt x="262750" y="477951"/>
                  </a:lnTo>
                  <a:cubicBezTo>
                    <a:pt x="318722" y="552775"/>
                    <a:pt x="407900" y="597451"/>
                    <a:pt x="501234" y="597451"/>
                  </a:cubicBezTo>
                  <a:lnTo>
                    <a:pt x="2227731" y="597451"/>
                  </a:lnTo>
                  <a:cubicBezTo>
                    <a:pt x="2280189" y="597451"/>
                    <a:pt x="2322749" y="554808"/>
                    <a:pt x="2322749" y="502248"/>
                  </a:cubicBezTo>
                  <a:cubicBezTo>
                    <a:pt x="2322749" y="449638"/>
                    <a:pt x="2280189" y="407044"/>
                    <a:pt x="2227731" y="407044"/>
                  </a:cubicBezTo>
                  <a:close/>
                  <a:moveTo>
                    <a:pt x="501234" y="407044"/>
                  </a:moveTo>
                  <a:cubicBezTo>
                    <a:pt x="467384" y="407044"/>
                    <a:pt x="435069" y="390830"/>
                    <a:pt x="414778" y="363707"/>
                  </a:cubicBezTo>
                  <a:lnTo>
                    <a:pt x="285070" y="190407"/>
                  </a:lnTo>
                  <a:lnTo>
                    <a:pt x="501234" y="190407"/>
                  </a:lnTo>
                  <a:cubicBezTo>
                    <a:pt x="535084" y="190407"/>
                    <a:pt x="567400" y="206621"/>
                    <a:pt x="587740" y="233744"/>
                  </a:cubicBezTo>
                  <a:lnTo>
                    <a:pt x="717449" y="407044"/>
                  </a:lnTo>
                  <a:close/>
                </a:path>
              </a:pathLst>
            </a:custGeom>
            <a:grpFill/>
            <a:ln w="1266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342905"/>
              <a:endParaRPr lang="ru-RU">
                <a:solidFill>
                  <a:srgbClr val="00B050"/>
                </a:solidFill>
                <a:latin typeface="Calibri" panose="020F0502020204030204"/>
              </a:endParaRPr>
            </a:p>
          </p:txBody>
        </p:sp>
        <p:sp>
          <p:nvSpPr>
            <p:cNvPr id="166" name="Freeform: Shape 98">
              <a:extLst>
                <a:ext uri="{FF2B5EF4-FFF2-40B4-BE49-F238E27FC236}">
                  <a16:creationId xmlns:a16="http://schemas.microsoft.com/office/drawing/2014/main" id="{0781A3BA-9FC8-47E8-9808-DA764D975C8C}"/>
                </a:ext>
              </a:extLst>
            </p:cNvPr>
            <p:cNvSpPr/>
            <p:nvPr/>
          </p:nvSpPr>
          <p:spPr>
            <a:xfrm>
              <a:off x="4492173" y="2170999"/>
              <a:ext cx="393134" cy="393904"/>
            </a:xfrm>
            <a:custGeom>
              <a:avLst/>
              <a:gdLst>
                <a:gd name="connsiteX0" fmla="*/ 196567 w 393134"/>
                <a:gd name="connsiteY0" fmla="*/ 0 h 393904"/>
                <a:gd name="connsiteX1" fmla="*/ 0 w 393134"/>
                <a:gd name="connsiteY1" fmla="*/ 196952 h 393904"/>
                <a:gd name="connsiteX2" fmla="*/ 196567 w 393134"/>
                <a:gd name="connsiteY2" fmla="*/ 393904 h 393904"/>
                <a:gd name="connsiteX3" fmla="*/ 393135 w 393134"/>
                <a:gd name="connsiteY3" fmla="*/ 196952 h 393904"/>
                <a:gd name="connsiteX4" fmla="*/ 196567 w 393134"/>
                <a:gd name="connsiteY4" fmla="*/ 0 h 3939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134" h="393904">
                  <a:moveTo>
                    <a:pt x="196567" y="0"/>
                  </a:moveTo>
                  <a:cubicBezTo>
                    <a:pt x="88188" y="0"/>
                    <a:pt x="0" y="88361"/>
                    <a:pt x="0" y="196952"/>
                  </a:cubicBezTo>
                  <a:cubicBezTo>
                    <a:pt x="0" y="305543"/>
                    <a:pt x="88188" y="393904"/>
                    <a:pt x="196567" y="393904"/>
                  </a:cubicBezTo>
                  <a:cubicBezTo>
                    <a:pt x="304996" y="393904"/>
                    <a:pt x="393135" y="305543"/>
                    <a:pt x="393135" y="196952"/>
                  </a:cubicBezTo>
                  <a:cubicBezTo>
                    <a:pt x="393135" y="88361"/>
                    <a:pt x="304996" y="0"/>
                    <a:pt x="196567" y="0"/>
                  </a:cubicBezTo>
                  <a:close/>
                </a:path>
              </a:pathLst>
            </a:custGeom>
            <a:grpFill/>
            <a:ln w="1266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342905"/>
              <a:endParaRPr lang="ru-RU">
                <a:solidFill>
                  <a:srgbClr val="00B050"/>
                </a:solidFill>
                <a:latin typeface="Calibri" panose="020F0502020204030204"/>
              </a:endParaRPr>
            </a:p>
          </p:txBody>
        </p:sp>
        <p:sp>
          <p:nvSpPr>
            <p:cNvPr id="167" name="Freeform: Shape 99">
              <a:extLst>
                <a:ext uri="{FF2B5EF4-FFF2-40B4-BE49-F238E27FC236}">
                  <a16:creationId xmlns:a16="http://schemas.microsoft.com/office/drawing/2014/main" id="{4FE16080-4173-402C-B914-DB99636DA207}"/>
                </a:ext>
              </a:extLst>
            </p:cNvPr>
            <p:cNvSpPr/>
            <p:nvPr/>
          </p:nvSpPr>
          <p:spPr>
            <a:xfrm>
              <a:off x="8757566" y="2170999"/>
              <a:ext cx="393134" cy="393904"/>
            </a:xfrm>
            <a:custGeom>
              <a:avLst/>
              <a:gdLst>
                <a:gd name="connsiteX0" fmla="*/ 196567 w 393134"/>
                <a:gd name="connsiteY0" fmla="*/ 0 h 393904"/>
                <a:gd name="connsiteX1" fmla="*/ 0 w 393134"/>
                <a:gd name="connsiteY1" fmla="*/ 196952 h 393904"/>
                <a:gd name="connsiteX2" fmla="*/ 196567 w 393134"/>
                <a:gd name="connsiteY2" fmla="*/ 393904 h 393904"/>
                <a:gd name="connsiteX3" fmla="*/ 393135 w 393134"/>
                <a:gd name="connsiteY3" fmla="*/ 196952 h 393904"/>
                <a:gd name="connsiteX4" fmla="*/ 196567 w 393134"/>
                <a:gd name="connsiteY4" fmla="*/ 0 h 3939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3134" h="393904">
                  <a:moveTo>
                    <a:pt x="196567" y="0"/>
                  </a:moveTo>
                  <a:cubicBezTo>
                    <a:pt x="88188" y="0"/>
                    <a:pt x="0" y="88361"/>
                    <a:pt x="0" y="196952"/>
                  </a:cubicBezTo>
                  <a:cubicBezTo>
                    <a:pt x="0" y="305543"/>
                    <a:pt x="88188" y="393904"/>
                    <a:pt x="196567" y="393904"/>
                  </a:cubicBezTo>
                  <a:cubicBezTo>
                    <a:pt x="304947" y="393904"/>
                    <a:pt x="393135" y="305543"/>
                    <a:pt x="393135" y="196952"/>
                  </a:cubicBezTo>
                  <a:cubicBezTo>
                    <a:pt x="393135" y="88361"/>
                    <a:pt x="304947" y="0"/>
                    <a:pt x="196567" y="0"/>
                  </a:cubicBezTo>
                  <a:close/>
                </a:path>
              </a:pathLst>
            </a:custGeom>
            <a:grpFill/>
            <a:ln w="12669" cap="flat">
              <a:noFill/>
              <a:prstDash val="solid"/>
              <a:miter/>
            </a:ln>
          </p:spPr>
          <p:txBody>
            <a:bodyPr rtlCol="0" anchor="ctr"/>
            <a:lstStyle/>
            <a:p>
              <a:pPr defTabSz="342905"/>
              <a:endParaRPr lang="ru-RU">
                <a:solidFill>
                  <a:srgbClr val="00B050"/>
                </a:solidFill>
                <a:latin typeface="Calibri" panose="020F0502020204030204"/>
              </a:endParaRPr>
            </a:p>
          </p:txBody>
        </p:sp>
      </p:grpSp>
      <p:sp>
        <p:nvSpPr>
          <p:cNvPr id="168" name="TextBox 167">
            <a:extLst>
              <a:ext uri="{FF2B5EF4-FFF2-40B4-BE49-F238E27FC236}">
                <a16:creationId xmlns:a16="http://schemas.microsoft.com/office/drawing/2014/main" id="{33AFA2CE-5727-41E4-AA99-B10095C2CBFC}"/>
              </a:ext>
            </a:extLst>
          </p:cNvPr>
          <p:cNvSpPr txBox="1"/>
          <p:nvPr/>
        </p:nvSpPr>
        <p:spPr>
          <a:xfrm>
            <a:off x="5922900" y="3106808"/>
            <a:ext cx="1029674" cy="457323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defPPr>
              <a:defRPr lang="en-US"/>
            </a:defPPr>
            <a:lvl1pPr algn="ctr">
              <a:defRPr sz="900">
                <a:solidFill>
                  <a:srgbClr val="00338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defTabSz="342905"/>
            <a:r>
              <a:rPr lang="ru-RU" sz="675" dirty="0"/>
              <a:t>Формирование СВП на основании данных от </a:t>
            </a:r>
            <a:r>
              <a:rPr lang="en-US" sz="675" dirty="0" err="1"/>
              <a:t>gps</a:t>
            </a:r>
            <a:r>
              <a:rPr lang="en-US" sz="675" dirty="0"/>
              <a:t>-</a:t>
            </a:r>
            <a:r>
              <a:rPr lang="ru-RU" sz="675" dirty="0"/>
              <a:t>треков</a:t>
            </a:r>
          </a:p>
        </p:txBody>
      </p:sp>
      <p:sp>
        <p:nvSpPr>
          <p:cNvPr id="170" name="TextBox 169">
            <a:extLst>
              <a:ext uri="{FF2B5EF4-FFF2-40B4-BE49-F238E27FC236}">
                <a16:creationId xmlns:a16="http://schemas.microsoft.com/office/drawing/2014/main" id="{A2391576-BD73-4E82-B27D-F1C419F531AD}"/>
              </a:ext>
            </a:extLst>
          </p:cNvPr>
          <p:cNvSpPr txBox="1"/>
          <p:nvPr/>
        </p:nvSpPr>
        <p:spPr>
          <a:xfrm>
            <a:off x="906433" y="2300783"/>
            <a:ext cx="1343139" cy="355635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algn="ctr" defTabSz="342905"/>
            <a:r>
              <a:rPr lang="ru-RU" sz="675" dirty="0">
                <a:solidFill>
                  <a:srgbClr val="00B050"/>
                </a:solidFill>
                <a:latin typeface="Arial" panose="020B0604020202020204" pitchFamily="34" charset="0"/>
              </a:rPr>
              <a:t>Внедрение кооперативных ИТС (</a:t>
            </a:r>
            <a:r>
              <a:rPr lang="en-US" sz="675" dirty="0">
                <a:solidFill>
                  <a:srgbClr val="00B050"/>
                </a:solidFill>
                <a:latin typeface="Arial" panose="020B0604020202020204" pitchFamily="34" charset="0"/>
              </a:rPr>
              <a:t>V2X</a:t>
            </a:r>
            <a:r>
              <a:rPr lang="ru-RU" sz="675" dirty="0">
                <a:solidFill>
                  <a:srgbClr val="00B050"/>
                </a:solidFill>
                <a:latin typeface="Arial" panose="020B0604020202020204" pitchFamily="34" charset="0"/>
              </a:rPr>
              <a:t> машина-инфраструктура)</a:t>
            </a:r>
            <a:endParaRPr lang="en-US" sz="675" dirty="0">
              <a:solidFill>
                <a:srgbClr val="00B050"/>
              </a:solidFill>
              <a:latin typeface="Arial" panose="020B0604020202020204" pitchFamily="34" charset="0"/>
            </a:endParaRPr>
          </a:p>
        </p:txBody>
      </p:sp>
      <p:sp>
        <p:nvSpPr>
          <p:cNvPr id="171" name="TextBox 170">
            <a:extLst>
              <a:ext uri="{FF2B5EF4-FFF2-40B4-BE49-F238E27FC236}">
                <a16:creationId xmlns:a16="http://schemas.microsoft.com/office/drawing/2014/main" id="{05CE06C0-5E3D-488A-BFCC-E7D35D52E0BC}"/>
              </a:ext>
            </a:extLst>
          </p:cNvPr>
          <p:cNvSpPr txBox="1"/>
          <p:nvPr/>
        </p:nvSpPr>
        <p:spPr>
          <a:xfrm>
            <a:off x="4956054" y="3032224"/>
            <a:ext cx="1058429" cy="4265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>
            <a:defPPr>
              <a:defRPr lang="en-US"/>
            </a:defPPr>
            <a:lvl1pPr algn="ctr">
              <a:defRPr sz="90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defTabSz="342905"/>
            <a:r>
              <a:rPr lang="ru-RU" sz="675" dirty="0">
                <a:solidFill>
                  <a:srgbClr val="00338D"/>
                </a:solidFill>
              </a:rPr>
              <a:t>Обмен данными со странами ЕАЭС</a:t>
            </a:r>
            <a:endParaRPr lang="en-US" sz="675" dirty="0">
              <a:solidFill>
                <a:srgbClr val="00338D"/>
              </a:solidFill>
            </a:endParaRPr>
          </a:p>
        </p:txBody>
      </p:sp>
      <p:pic>
        <p:nvPicPr>
          <p:cNvPr id="29752" name="Picture 56" descr="Картинки по запросу &quot;V2X icon&quot;">
            <a:extLst>
              <a:ext uri="{FF2B5EF4-FFF2-40B4-BE49-F238E27FC236}">
                <a16:creationId xmlns:a16="http://schemas.microsoft.com/office/drawing/2014/main" id="{FF615A2B-68EC-40B2-AB8B-B0611CD2EBA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rightnessContrast bright="-40000" contras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1346683" y="1959184"/>
            <a:ext cx="394901" cy="3995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34" name="Group 133">
            <a:extLst>
              <a:ext uri="{FF2B5EF4-FFF2-40B4-BE49-F238E27FC236}">
                <a16:creationId xmlns:a16="http://schemas.microsoft.com/office/drawing/2014/main" id="{D900A628-DBD0-43B1-8E2C-9CFBE5CF4CAC}"/>
              </a:ext>
            </a:extLst>
          </p:cNvPr>
          <p:cNvGrpSpPr/>
          <p:nvPr/>
        </p:nvGrpSpPr>
        <p:grpSpPr>
          <a:xfrm>
            <a:off x="4170287" y="2540349"/>
            <a:ext cx="1029674" cy="736104"/>
            <a:chOff x="5797758" y="1681540"/>
            <a:chExt cx="1372972" cy="981523"/>
          </a:xfrm>
        </p:grpSpPr>
        <p:sp>
          <p:nvSpPr>
            <p:cNvPr id="169" name="TextBox 168">
              <a:extLst>
                <a:ext uri="{FF2B5EF4-FFF2-40B4-BE49-F238E27FC236}">
                  <a16:creationId xmlns:a16="http://schemas.microsoft.com/office/drawing/2014/main" id="{33AFA2CE-5727-41E4-AA99-B10095C2CBFC}"/>
                </a:ext>
              </a:extLst>
            </p:cNvPr>
            <p:cNvSpPr txBox="1"/>
            <p:nvPr/>
          </p:nvSpPr>
          <p:spPr>
            <a:xfrm>
              <a:off x="5797758" y="2053267"/>
              <a:ext cx="1372972" cy="609796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>
              <a:defPPr>
                <a:defRPr lang="en-US"/>
              </a:defPPr>
              <a:lvl1pPr algn="ctr">
                <a:defRPr sz="900">
                  <a:solidFill>
                    <a:srgbClr val="00338D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</a:lstStyle>
            <a:p>
              <a:pPr defTabSz="342905"/>
              <a:r>
                <a:rPr lang="ru-RU" sz="675" dirty="0"/>
                <a:t>Выделенные платные полосы</a:t>
              </a:r>
            </a:p>
          </p:txBody>
        </p:sp>
        <p:pic>
          <p:nvPicPr>
            <p:cNvPr id="29757" name="Picture 61" descr="Картинки по запросу &quot;road icon&quot;">
              <a:extLst>
                <a:ext uri="{FF2B5EF4-FFF2-40B4-BE49-F238E27FC236}">
                  <a16:creationId xmlns:a16="http://schemas.microsoft.com/office/drawing/2014/main" id="{632CD1CB-DA52-489F-A119-2F5CBC856D0C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9" cstate="print">
              <a:duotone>
                <a:schemeClr val="accent4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371279" y="1681540"/>
              <a:ext cx="438179" cy="43817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29759" name="Picture 63" descr="Картинки по запросу &quot;data exchangeicon&quot;">
            <a:extLst>
              <a:ext uri="{FF2B5EF4-FFF2-40B4-BE49-F238E27FC236}">
                <a16:creationId xmlns:a16="http://schemas.microsoft.com/office/drawing/2014/main" id="{0DF580B2-04D8-4E33-8EC9-A039C9664E2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 cstate="print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00895" y="2709197"/>
            <a:ext cx="358720" cy="3587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9761" name="Picture 65" descr="Картинки по запросу &quot;gsm icon&quot;">
            <a:extLst>
              <a:ext uri="{FF2B5EF4-FFF2-40B4-BE49-F238E27FC236}">
                <a16:creationId xmlns:a16="http://schemas.microsoft.com/office/drawing/2014/main" id="{6E1C1A89-293F-40D1-9FB8-40F04AEE774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 cstate="print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17472" y="2868000"/>
            <a:ext cx="305187" cy="3051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2" name="TextBox 171">
            <a:extLst>
              <a:ext uri="{FF2B5EF4-FFF2-40B4-BE49-F238E27FC236}">
                <a16:creationId xmlns:a16="http://schemas.microsoft.com/office/drawing/2014/main" id="{6A34AB19-345F-46F2-AE0B-DBA624EB4EA5}"/>
              </a:ext>
            </a:extLst>
          </p:cNvPr>
          <p:cNvSpPr txBox="1"/>
          <p:nvPr/>
        </p:nvSpPr>
        <p:spPr>
          <a:xfrm>
            <a:off x="3144955" y="4160118"/>
            <a:ext cx="1343139" cy="214259"/>
          </a:xfrm>
          <a:prstGeom prst="rect">
            <a:avLst/>
          </a:prstGeom>
          <a:noFill/>
        </p:spPr>
        <p:txBody>
          <a:bodyPr wrap="square" lIns="26999" tIns="0" rIns="26999" bIns="0" rtlCol="0" anchor="ctr">
            <a:noAutofit/>
          </a:bodyPr>
          <a:lstStyle>
            <a:defPPr>
              <a:defRPr lang="en-US"/>
            </a:defPPr>
            <a:lvl1pPr algn="ctr">
              <a:defRPr sz="1600" b="1">
                <a:solidFill>
                  <a:srgbClr val="E94E14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defTabSz="342905"/>
            <a:r>
              <a:rPr lang="ru-RU" sz="675" b="0" dirty="0">
                <a:solidFill>
                  <a:srgbClr val="206595"/>
                </a:solidFill>
              </a:rPr>
              <a:t>Система мониторинга движения грузового транспорта</a:t>
            </a:r>
          </a:p>
        </p:txBody>
      </p:sp>
      <p:pic>
        <p:nvPicPr>
          <p:cNvPr id="173" name="Picture 65" descr="Картинки по запросу &quot;gsm icon&quot;">
            <a:extLst>
              <a:ext uri="{FF2B5EF4-FFF2-40B4-BE49-F238E27FC236}">
                <a16:creationId xmlns:a16="http://schemas.microsoft.com/office/drawing/2014/main" id="{59A28000-27A1-4672-9DAE-1A6A36ABD7F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 cstate="print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20517" y="3811018"/>
            <a:ext cx="305187" cy="3051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39" name="Graphic 266">
            <a:extLst>
              <a:ext uri="{FF2B5EF4-FFF2-40B4-BE49-F238E27FC236}">
                <a16:creationId xmlns:a16="http://schemas.microsoft.com/office/drawing/2014/main" id="{A67EB61A-310A-409A-9CE2-B85FF1309D58}"/>
              </a:ext>
            </a:extLst>
          </p:cNvPr>
          <p:cNvGrpSpPr/>
          <p:nvPr/>
        </p:nvGrpSpPr>
        <p:grpSpPr>
          <a:xfrm>
            <a:off x="3217151" y="5415407"/>
            <a:ext cx="347988" cy="356378"/>
            <a:chOff x="4413292" y="1417647"/>
            <a:chExt cx="4613189" cy="4724406"/>
          </a:xfrm>
          <a:solidFill>
            <a:srgbClr val="E94E14"/>
          </a:solidFill>
        </p:grpSpPr>
        <p:sp>
          <p:nvSpPr>
            <p:cNvPr id="140" name="Freeform: Shape 108">
              <a:extLst>
                <a:ext uri="{FF2B5EF4-FFF2-40B4-BE49-F238E27FC236}">
                  <a16:creationId xmlns:a16="http://schemas.microsoft.com/office/drawing/2014/main" id="{062D478F-6407-455A-A785-D0FFE138A264}"/>
                </a:ext>
              </a:extLst>
            </p:cNvPr>
            <p:cNvSpPr/>
            <p:nvPr/>
          </p:nvSpPr>
          <p:spPr>
            <a:xfrm>
              <a:off x="7691292" y="5504115"/>
              <a:ext cx="820620" cy="637938"/>
            </a:xfrm>
            <a:custGeom>
              <a:avLst/>
              <a:gdLst>
                <a:gd name="connsiteX0" fmla="*/ 625483 w 820620"/>
                <a:gd name="connsiteY0" fmla="*/ 637938 h 637938"/>
                <a:gd name="connsiteX1" fmla="*/ 194215 w 820620"/>
                <a:gd name="connsiteY1" fmla="*/ 637938 h 637938"/>
                <a:gd name="connsiteX2" fmla="*/ 0 w 820620"/>
                <a:gd name="connsiteY2" fmla="*/ 442866 h 637938"/>
                <a:gd name="connsiteX3" fmla="*/ 0 w 820620"/>
                <a:gd name="connsiteY3" fmla="*/ 65903 h 637938"/>
                <a:gd name="connsiteX4" fmla="*/ 65903 w 820620"/>
                <a:gd name="connsiteY4" fmla="*/ 0 h 637938"/>
                <a:gd name="connsiteX5" fmla="*/ 754718 w 820620"/>
                <a:gd name="connsiteY5" fmla="*/ 0 h 637938"/>
                <a:gd name="connsiteX6" fmla="*/ 820621 w 820620"/>
                <a:gd name="connsiteY6" fmla="*/ 65903 h 637938"/>
                <a:gd name="connsiteX7" fmla="*/ 820621 w 820620"/>
                <a:gd name="connsiteY7" fmla="*/ 442866 h 637938"/>
                <a:gd name="connsiteX8" fmla="*/ 625483 w 820620"/>
                <a:gd name="connsiteY8" fmla="*/ 637938 h 637938"/>
                <a:gd name="connsiteX9" fmla="*/ 131806 w 820620"/>
                <a:gd name="connsiteY9" fmla="*/ 131805 h 637938"/>
                <a:gd name="connsiteX10" fmla="*/ 131806 w 820620"/>
                <a:gd name="connsiteY10" fmla="*/ 442866 h 637938"/>
                <a:gd name="connsiteX11" fmla="*/ 194215 w 820620"/>
                <a:gd name="connsiteY11" fmla="*/ 506133 h 637938"/>
                <a:gd name="connsiteX12" fmla="*/ 625483 w 820620"/>
                <a:gd name="connsiteY12" fmla="*/ 506133 h 637938"/>
                <a:gd name="connsiteX13" fmla="*/ 688815 w 820620"/>
                <a:gd name="connsiteY13" fmla="*/ 442866 h 637938"/>
                <a:gd name="connsiteX14" fmla="*/ 688815 w 820620"/>
                <a:gd name="connsiteY14" fmla="*/ 131805 h 6379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820620" h="637938">
                  <a:moveTo>
                    <a:pt x="625483" y="637938"/>
                  </a:moveTo>
                  <a:lnTo>
                    <a:pt x="194215" y="637938"/>
                  </a:lnTo>
                  <a:cubicBezTo>
                    <a:pt x="86769" y="637575"/>
                    <a:pt x="-110" y="550313"/>
                    <a:pt x="0" y="442866"/>
                  </a:cubicBezTo>
                  <a:lnTo>
                    <a:pt x="0" y="65903"/>
                  </a:lnTo>
                  <a:cubicBezTo>
                    <a:pt x="0" y="29506"/>
                    <a:pt x="29506" y="0"/>
                    <a:pt x="65903" y="0"/>
                  </a:cubicBezTo>
                  <a:lnTo>
                    <a:pt x="754718" y="0"/>
                  </a:lnTo>
                  <a:cubicBezTo>
                    <a:pt x="791115" y="0"/>
                    <a:pt x="820621" y="29506"/>
                    <a:pt x="820621" y="65903"/>
                  </a:cubicBezTo>
                  <a:lnTo>
                    <a:pt x="820621" y="442866"/>
                  </a:lnTo>
                  <a:cubicBezTo>
                    <a:pt x="820475" y="550567"/>
                    <a:pt x="733184" y="637830"/>
                    <a:pt x="625483" y="637938"/>
                  </a:cubicBezTo>
                  <a:close/>
                  <a:moveTo>
                    <a:pt x="131806" y="131805"/>
                  </a:moveTo>
                  <a:lnTo>
                    <a:pt x="131806" y="442866"/>
                  </a:lnTo>
                  <a:cubicBezTo>
                    <a:pt x="131586" y="477564"/>
                    <a:pt x="159518" y="505879"/>
                    <a:pt x="194215" y="506133"/>
                  </a:cubicBezTo>
                  <a:lnTo>
                    <a:pt x="625483" y="506133"/>
                  </a:lnTo>
                  <a:cubicBezTo>
                    <a:pt x="660242" y="505672"/>
                    <a:pt x="688318" y="477625"/>
                    <a:pt x="688815" y="442866"/>
                  </a:cubicBezTo>
                  <a:lnTo>
                    <a:pt x="688815" y="131805"/>
                  </a:lnTo>
                  <a:close/>
                </a:path>
              </a:pathLst>
            </a:custGeom>
            <a:grpFill/>
            <a:ln w="659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488"/>
            </a:p>
          </p:txBody>
        </p:sp>
        <p:sp>
          <p:nvSpPr>
            <p:cNvPr id="152" name="Freeform: Shape 109">
              <a:extLst>
                <a:ext uri="{FF2B5EF4-FFF2-40B4-BE49-F238E27FC236}">
                  <a16:creationId xmlns:a16="http://schemas.microsoft.com/office/drawing/2014/main" id="{A6836A88-8EAA-462F-B314-E41C289131C1}"/>
                </a:ext>
              </a:extLst>
            </p:cNvPr>
            <p:cNvSpPr/>
            <p:nvPr/>
          </p:nvSpPr>
          <p:spPr>
            <a:xfrm>
              <a:off x="4927860" y="5504115"/>
              <a:ext cx="820620" cy="637938"/>
            </a:xfrm>
            <a:custGeom>
              <a:avLst/>
              <a:gdLst>
                <a:gd name="connsiteX0" fmla="*/ 626405 w 820620"/>
                <a:gd name="connsiteY0" fmla="*/ 637938 h 637938"/>
                <a:gd name="connsiteX1" fmla="*/ 195138 w 820620"/>
                <a:gd name="connsiteY1" fmla="*/ 637938 h 637938"/>
                <a:gd name="connsiteX2" fmla="*/ 0 w 820620"/>
                <a:gd name="connsiteY2" fmla="*/ 442866 h 637938"/>
                <a:gd name="connsiteX3" fmla="*/ 0 w 820620"/>
                <a:gd name="connsiteY3" fmla="*/ 65903 h 637938"/>
                <a:gd name="connsiteX4" fmla="*/ 65903 w 820620"/>
                <a:gd name="connsiteY4" fmla="*/ 0 h 637938"/>
                <a:gd name="connsiteX5" fmla="*/ 754718 w 820620"/>
                <a:gd name="connsiteY5" fmla="*/ 0 h 637938"/>
                <a:gd name="connsiteX6" fmla="*/ 820621 w 820620"/>
                <a:gd name="connsiteY6" fmla="*/ 65903 h 637938"/>
                <a:gd name="connsiteX7" fmla="*/ 820621 w 820620"/>
                <a:gd name="connsiteY7" fmla="*/ 442866 h 637938"/>
                <a:gd name="connsiteX8" fmla="*/ 626405 w 820620"/>
                <a:gd name="connsiteY8" fmla="*/ 637938 h 637938"/>
                <a:gd name="connsiteX9" fmla="*/ 132135 w 820620"/>
                <a:gd name="connsiteY9" fmla="*/ 131805 h 637938"/>
                <a:gd name="connsiteX10" fmla="*/ 132135 w 820620"/>
                <a:gd name="connsiteY10" fmla="*/ 442866 h 637938"/>
                <a:gd name="connsiteX11" fmla="*/ 195467 w 820620"/>
                <a:gd name="connsiteY11" fmla="*/ 506133 h 637938"/>
                <a:gd name="connsiteX12" fmla="*/ 626735 w 820620"/>
                <a:gd name="connsiteY12" fmla="*/ 506133 h 637938"/>
                <a:gd name="connsiteX13" fmla="*/ 689145 w 820620"/>
                <a:gd name="connsiteY13" fmla="*/ 442866 h 637938"/>
                <a:gd name="connsiteX14" fmla="*/ 689145 w 820620"/>
                <a:gd name="connsiteY14" fmla="*/ 131805 h 6379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820620" h="637938">
                  <a:moveTo>
                    <a:pt x="626405" y="637938"/>
                  </a:moveTo>
                  <a:lnTo>
                    <a:pt x="195138" y="637938"/>
                  </a:lnTo>
                  <a:cubicBezTo>
                    <a:pt x="87437" y="637829"/>
                    <a:pt x="145" y="550567"/>
                    <a:pt x="0" y="442866"/>
                  </a:cubicBezTo>
                  <a:lnTo>
                    <a:pt x="0" y="65903"/>
                  </a:lnTo>
                  <a:cubicBezTo>
                    <a:pt x="0" y="29506"/>
                    <a:pt x="29506" y="0"/>
                    <a:pt x="65903" y="0"/>
                  </a:cubicBezTo>
                  <a:lnTo>
                    <a:pt x="754718" y="0"/>
                  </a:lnTo>
                  <a:cubicBezTo>
                    <a:pt x="791115" y="0"/>
                    <a:pt x="820621" y="29506"/>
                    <a:pt x="820621" y="65903"/>
                  </a:cubicBezTo>
                  <a:lnTo>
                    <a:pt x="820621" y="442866"/>
                  </a:lnTo>
                  <a:cubicBezTo>
                    <a:pt x="820730" y="550313"/>
                    <a:pt x="733851" y="637575"/>
                    <a:pt x="626405" y="637938"/>
                  </a:cubicBezTo>
                  <a:close/>
                  <a:moveTo>
                    <a:pt x="132135" y="131805"/>
                  </a:moveTo>
                  <a:lnTo>
                    <a:pt x="132135" y="442866"/>
                  </a:lnTo>
                  <a:cubicBezTo>
                    <a:pt x="132632" y="477625"/>
                    <a:pt x="160708" y="505672"/>
                    <a:pt x="195467" y="506133"/>
                  </a:cubicBezTo>
                  <a:lnTo>
                    <a:pt x="626735" y="506133"/>
                  </a:lnTo>
                  <a:cubicBezTo>
                    <a:pt x="661432" y="505879"/>
                    <a:pt x="689364" y="477564"/>
                    <a:pt x="689145" y="442866"/>
                  </a:cubicBezTo>
                  <a:lnTo>
                    <a:pt x="689145" y="131805"/>
                  </a:lnTo>
                  <a:close/>
                </a:path>
              </a:pathLst>
            </a:custGeom>
            <a:grpFill/>
            <a:ln w="659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488"/>
            </a:p>
          </p:txBody>
        </p:sp>
        <p:sp>
          <p:nvSpPr>
            <p:cNvPr id="153" name="Freeform: Shape 110">
              <a:extLst>
                <a:ext uri="{FF2B5EF4-FFF2-40B4-BE49-F238E27FC236}">
                  <a16:creationId xmlns:a16="http://schemas.microsoft.com/office/drawing/2014/main" id="{F3B166B2-A152-4ED1-9C03-633097808D93}"/>
                </a:ext>
              </a:extLst>
            </p:cNvPr>
            <p:cNvSpPr/>
            <p:nvPr/>
          </p:nvSpPr>
          <p:spPr>
            <a:xfrm>
              <a:off x="6400917" y="5070936"/>
              <a:ext cx="637938" cy="131805"/>
            </a:xfrm>
            <a:custGeom>
              <a:avLst/>
              <a:gdLst>
                <a:gd name="connsiteX0" fmla="*/ 572036 w 637938"/>
                <a:gd name="connsiteY0" fmla="*/ 131805 h 131805"/>
                <a:gd name="connsiteX1" fmla="*/ 65903 w 637938"/>
                <a:gd name="connsiteY1" fmla="*/ 131805 h 131805"/>
                <a:gd name="connsiteX2" fmla="*/ 0 w 637938"/>
                <a:gd name="connsiteY2" fmla="*/ 65903 h 131805"/>
                <a:gd name="connsiteX3" fmla="*/ 65903 w 637938"/>
                <a:gd name="connsiteY3" fmla="*/ 0 h 131805"/>
                <a:gd name="connsiteX4" fmla="*/ 572036 w 637938"/>
                <a:gd name="connsiteY4" fmla="*/ 0 h 131805"/>
                <a:gd name="connsiteX5" fmla="*/ 637938 w 637938"/>
                <a:gd name="connsiteY5" fmla="*/ 65903 h 131805"/>
                <a:gd name="connsiteX6" fmla="*/ 572036 w 637938"/>
                <a:gd name="connsiteY6" fmla="*/ 131805 h 1318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637938" h="131805">
                  <a:moveTo>
                    <a:pt x="572036" y="131805"/>
                  </a:moveTo>
                  <a:lnTo>
                    <a:pt x="65903" y="131805"/>
                  </a:lnTo>
                  <a:cubicBezTo>
                    <a:pt x="29506" y="131805"/>
                    <a:pt x="0" y="102300"/>
                    <a:pt x="0" y="65903"/>
                  </a:cubicBezTo>
                  <a:cubicBezTo>
                    <a:pt x="0" y="29506"/>
                    <a:pt x="29506" y="0"/>
                    <a:pt x="65903" y="0"/>
                  </a:cubicBezTo>
                  <a:lnTo>
                    <a:pt x="572036" y="0"/>
                  </a:lnTo>
                  <a:cubicBezTo>
                    <a:pt x="608433" y="0"/>
                    <a:pt x="637938" y="29506"/>
                    <a:pt x="637938" y="65903"/>
                  </a:cubicBezTo>
                  <a:cubicBezTo>
                    <a:pt x="637938" y="102300"/>
                    <a:pt x="608433" y="131805"/>
                    <a:pt x="572036" y="131805"/>
                  </a:cubicBezTo>
                  <a:close/>
                </a:path>
              </a:pathLst>
            </a:custGeom>
            <a:grpFill/>
            <a:ln w="659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488"/>
            </a:p>
          </p:txBody>
        </p:sp>
        <p:sp>
          <p:nvSpPr>
            <p:cNvPr id="174" name="Freeform: Shape 111">
              <a:extLst>
                <a:ext uri="{FF2B5EF4-FFF2-40B4-BE49-F238E27FC236}">
                  <a16:creationId xmlns:a16="http://schemas.microsoft.com/office/drawing/2014/main" id="{700C2D54-364F-434D-A69E-D65E32799C63}"/>
                </a:ext>
              </a:extLst>
            </p:cNvPr>
            <p:cNvSpPr/>
            <p:nvPr/>
          </p:nvSpPr>
          <p:spPr>
            <a:xfrm>
              <a:off x="4413292" y="3717163"/>
              <a:ext cx="677743" cy="470149"/>
            </a:xfrm>
            <a:custGeom>
              <a:avLst/>
              <a:gdLst>
                <a:gd name="connsiteX0" fmla="*/ 611841 w 677743"/>
                <a:gd name="connsiteY0" fmla="*/ 470150 h 470149"/>
                <a:gd name="connsiteX1" fmla="*/ 185318 w 677743"/>
                <a:gd name="connsiteY1" fmla="*/ 470150 h 470149"/>
                <a:gd name="connsiteX2" fmla="*/ 0 w 677743"/>
                <a:gd name="connsiteY2" fmla="*/ 284831 h 470149"/>
                <a:gd name="connsiteX3" fmla="*/ 0 w 677743"/>
                <a:gd name="connsiteY3" fmla="*/ 185318 h 470149"/>
                <a:gd name="connsiteX4" fmla="*/ 185318 w 677743"/>
                <a:gd name="connsiteY4" fmla="*/ 0 h 470149"/>
                <a:gd name="connsiteX5" fmla="*/ 492425 w 677743"/>
                <a:gd name="connsiteY5" fmla="*/ 0 h 470149"/>
                <a:gd name="connsiteX6" fmla="*/ 677743 w 677743"/>
                <a:gd name="connsiteY6" fmla="*/ 185318 h 470149"/>
                <a:gd name="connsiteX7" fmla="*/ 677743 w 677743"/>
                <a:gd name="connsiteY7" fmla="*/ 404247 h 470149"/>
                <a:gd name="connsiteX8" fmla="*/ 611841 w 677743"/>
                <a:gd name="connsiteY8" fmla="*/ 470150 h 470149"/>
                <a:gd name="connsiteX9" fmla="*/ 185318 w 677743"/>
                <a:gd name="connsiteY9" fmla="*/ 131805 h 470149"/>
                <a:gd name="connsiteX10" fmla="*/ 131805 w 677743"/>
                <a:gd name="connsiteY10" fmla="*/ 185318 h 470149"/>
                <a:gd name="connsiteX11" fmla="*/ 131805 w 677743"/>
                <a:gd name="connsiteY11" fmla="*/ 284831 h 470149"/>
                <a:gd name="connsiteX12" fmla="*/ 185318 w 677743"/>
                <a:gd name="connsiteY12" fmla="*/ 338344 h 470149"/>
                <a:gd name="connsiteX13" fmla="*/ 545938 w 677743"/>
                <a:gd name="connsiteY13" fmla="*/ 338344 h 470149"/>
                <a:gd name="connsiteX14" fmla="*/ 545938 w 677743"/>
                <a:gd name="connsiteY14" fmla="*/ 185318 h 470149"/>
                <a:gd name="connsiteX15" fmla="*/ 492425 w 677743"/>
                <a:gd name="connsiteY15" fmla="*/ 131805 h 4701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677743" h="470149">
                  <a:moveTo>
                    <a:pt x="611841" y="470150"/>
                  </a:moveTo>
                  <a:lnTo>
                    <a:pt x="185318" y="470150"/>
                  </a:lnTo>
                  <a:cubicBezTo>
                    <a:pt x="83015" y="470041"/>
                    <a:pt x="109" y="387135"/>
                    <a:pt x="0" y="284831"/>
                  </a:cubicBezTo>
                  <a:lnTo>
                    <a:pt x="0" y="185318"/>
                  </a:lnTo>
                  <a:cubicBezTo>
                    <a:pt x="109" y="83015"/>
                    <a:pt x="83015" y="109"/>
                    <a:pt x="185318" y="0"/>
                  </a:cubicBezTo>
                  <a:lnTo>
                    <a:pt x="492425" y="0"/>
                  </a:lnTo>
                  <a:cubicBezTo>
                    <a:pt x="594728" y="109"/>
                    <a:pt x="677634" y="83015"/>
                    <a:pt x="677743" y="185318"/>
                  </a:cubicBezTo>
                  <a:lnTo>
                    <a:pt x="677743" y="404247"/>
                  </a:lnTo>
                  <a:cubicBezTo>
                    <a:pt x="677743" y="440644"/>
                    <a:pt x="648238" y="470150"/>
                    <a:pt x="611841" y="470150"/>
                  </a:cubicBezTo>
                  <a:close/>
                  <a:moveTo>
                    <a:pt x="185318" y="131805"/>
                  </a:moveTo>
                  <a:cubicBezTo>
                    <a:pt x="155779" y="131842"/>
                    <a:pt x="131842" y="155779"/>
                    <a:pt x="131805" y="185318"/>
                  </a:cubicBezTo>
                  <a:lnTo>
                    <a:pt x="131805" y="284831"/>
                  </a:lnTo>
                  <a:cubicBezTo>
                    <a:pt x="131842" y="314371"/>
                    <a:pt x="155779" y="338308"/>
                    <a:pt x="185318" y="338344"/>
                  </a:cubicBezTo>
                  <a:lnTo>
                    <a:pt x="545938" y="338344"/>
                  </a:lnTo>
                  <a:lnTo>
                    <a:pt x="545938" y="185318"/>
                  </a:lnTo>
                  <a:cubicBezTo>
                    <a:pt x="545902" y="155779"/>
                    <a:pt x="521964" y="131842"/>
                    <a:pt x="492425" y="131805"/>
                  </a:cubicBezTo>
                  <a:close/>
                </a:path>
              </a:pathLst>
            </a:custGeom>
            <a:grpFill/>
            <a:ln w="659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488"/>
            </a:p>
          </p:txBody>
        </p:sp>
        <p:sp>
          <p:nvSpPr>
            <p:cNvPr id="175" name="Freeform: Shape 112">
              <a:extLst>
                <a:ext uri="{FF2B5EF4-FFF2-40B4-BE49-F238E27FC236}">
                  <a16:creationId xmlns:a16="http://schemas.microsoft.com/office/drawing/2014/main" id="{47BDDDBE-4995-4B61-A208-E06E5437575E}"/>
                </a:ext>
              </a:extLst>
            </p:cNvPr>
            <p:cNvSpPr/>
            <p:nvPr/>
          </p:nvSpPr>
          <p:spPr>
            <a:xfrm>
              <a:off x="8348738" y="3717163"/>
              <a:ext cx="677743" cy="470149"/>
            </a:xfrm>
            <a:custGeom>
              <a:avLst/>
              <a:gdLst>
                <a:gd name="connsiteX0" fmla="*/ 492425 w 677743"/>
                <a:gd name="connsiteY0" fmla="*/ 470150 h 470149"/>
                <a:gd name="connsiteX1" fmla="*/ 65903 w 677743"/>
                <a:gd name="connsiteY1" fmla="*/ 470150 h 470149"/>
                <a:gd name="connsiteX2" fmla="*/ 0 w 677743"/>
                <a:gd name="connsiteY2" fmla="*/ 404247 h 470149"/>
                <a:gd name="connsiteX3" fmla="*/ 0 w 677743"/>
                <a:gd name="connsiteY3" fmla="*/ 185318 h 470149"/>
                <a:gd name="connsiteX4" fmla="*/ 185318 w 677743"/>
                <a:gd name="connsiteY4" fmla="*/ 0 h 470149"/>
                <a:gd name="connsiteX5" fmla="*/ 492425 w 677743"/>
                <a:gd name="connsiteY5" fmla="*/ 0 h 470149"/>
                <a:gd name="connsiteX6" fmla="*/ 677743 w 677743"/>
                <a:gd name="connsiteY6" fmla="*/ 185318 h 470149"/>
                <a:gd name="connsiteX7" fmla="*/ 677743 w 677743"/>
                <a:gd name="connsiteY7" fmla="*/ 284831 h 470149"/>
                <a:gd name="connsiteX8" fmla="*/ 492425 w 677743"/>
                <a:gd name="connsiteY8" fmla="*/ 470150 h 470149"/>
                <a:gd name="connsiteX9" fmla="*/ 131805 w 677743"/>
                <a:gd name="connsiteY9" fmla="*/ 338344 h 470149"/>
                <a:gd name="connsiteX10" fmla="*/ 492425 w 677743"/>
                <a:gd name="connsiteY10" fmla="*/ 338344 h 470149"/>
                <a:gd name="connsiteX11" fmla="*/ 545938 w 677743"/>
                <a:gd name="connsiteY11" fmla="*/ 284831 h 470149"/>
                <a:gd name="connsiteX12" fmla="*/ 545938 w 677743"/>
                <a:gd name="connsiteY12" fmla="*/ 185318 h 470149"/>
                <a:gd name="connsiteX13" fmla="*/ 492425 w 677743"/>
                <a:gd name="connsiteY13" fmla="*/ 131805 h 470149"/>
                <a:gd name="connsiteX14" fmla="*/ 185318 w 677743"/>
                <a:gd name="connsiteY14" fmla="*/ 131805 h 470149"/>
                <a:gd name="connsiteX15" fmla="*/ 131805 w 677743"/>
                <a:gd name="connsiteY15" fmla="*/ 185318 h 4701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677743" h="470149">
                  <a:moveTo>
                    <a:pt x="492425" y="470150"/>
                  </a:moveTo>
                  <a:lnTo>
                    <a:pt x="65903" y="470150"/>
                  </a:lnTo>
                  <a:cubicBezTo>
                    <a:pt x="29506" y="470150"/>
                    <a:pt x="0" y="440644"/>
                    <a:pt x="0" y="404247"/>
                  </a:cubicBezTo>
                  <a:lnTo>
                    <a:pt x="0" y="185318"/>
                  </a:lnTo>
                  <a:cubicBezTo>
                    <a:pt x="109" y="83015"/>
                    <a:pt x="83015" y="109"/>
                    <a:pt x="185318" y="0"/>
                  </a:cubicBezTo>
                  <a:lnTo>
                    <a:pt x="492425" y="0"/>
                  </a:lnTo>
                  <a:cubicBezTo>
                    <a:pt x="594729" y="109"/>
                    <a:pt x="677635" y="83015"/>
                    <a:pt x="677743" y="185318"/>
                  </a:cubicBezTo>
                  <a:lnTo>
                    <a:pt x="677743" y="284831"/>
                  </a:lnTo>
                  <a:cubicBezTo>
                    <a:pt x="677634" y="387135"/>
                    <a:pt x="594729" y="470041"/>
                    <a:pt x="492425" y="470150"/>
                  </a:cubicBezTo>
                  <a:close/>
                  <a:moveTo>
                    <a:pt x="131805" y="338344"/>
                  </a:moveTo>
                  <a:lnTo>
                    <a:pt x="492425" y="338344"/>
                  </a:lnTo>
                  <a:cubicBezTo>
                    <a:pt x="521965" y="338308"/>
                    <a:pt x="545902" y="314371"/>
                    <a:pt x="545938" y="284831"/>
                  </a:cubicBezTo>
                  <a:lnTo>
                    <a:pt x="545938" y="185318"/>
                  </a:lnTo>
                  <a:cubicBezTo>
                    <a:pt x="545902" y="155779"/>
                    <a:pt x="521965" y="131842"/>
                    <a:pt x="492425" y="131805"/>
                  </a:cubicBezTo>
                  <a:lnTo>
                    <a:pt x="185318" y="131805"/>
                  </a:lnTo>
                  <a:cubicBezTo>
                    <a:pt x="155779" y="131842"/>
                    <a:pt x="131842" y="155779"/>
                    <a:pt x="131805" y="185318"/>
                  </a:cubicBezTo>
                  <a:close/>
                </a:path>
              </a:pathLst>
            </a:custGeom>
            <a:grpFill/>
            <a:ln w="659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488"/>
            </a:p>
          </p:txBody>
        </p:sp>
        <p:sp>
          <p:nvSpPr>
            <p:cNvPr id="176" name="Freeform: Shape 113">
              <a:extLst>
                <a:ext uri="{FF2B5EF4-FFF2-40B4-BE49-F238E27FC236}">
                  <a16:creationId xmlns:a16="http://schemas.microsoft.com/office/drawing/2014/main" id="{EAE6023D-406E-4CD6-B02A-DD10AFF3A0EC}"/>
                </a:ext>
              </a:extLst>
            </p:cNvPr>
            <p:cNvSpPr/>
            <p:nvPr/>
          </p:nvSpPr>
          <p:spPr>
            <a:xfrm>
              <a:off x="6119537" y="1417647"/>
              <a:ext cx="1229043" cy="378518"/>
            </a:xfrm>
            <a:custGeom>
              <a:avLst/>
              <a:gdLst>
                <a:gd name="connsiteX0" fmla="*/ 1163225 w 1229043"/>
                <a:gd name="connsiteY0" fmla="*/ 378518 h 378518"/>
                <a:gd name="connsiteX1" fmla="*/ 1115050 w 1229043"/>
                <a:gd name="connsiteY1" fmla="*/ 357561 h 378518"/>
                <a:gd name="connsiteX2" fmla="*/ 110824 w 1229043"/>
                <a:gd name="connsiteY2" fmla="*/ 321842 h 378518"/>
                <a:gd name="connsiteX3" fmla="*/ 17671 w 1229043"/>
                <a:gd name="connsiteY3" fmla="*/ 318514 h 378518"/>
                <a:gd name="connsiteX4" fmla="*/ 20999 w 1229043"/>
                <a:gd name="connsiteY4" fmla="*/ 225361 h 378518"/>
                <a:gd name="connsiteX5" fmla="*/ 1211400 w 1229043"/>
                <a:gd name="connsiteY5" fmla="*/ 267736 h 378518"/>
                <a:gd name="connsiteX6" fmla="*/ 1208020 w 1229043"/>
                <a:gd name="connsiteY6" fmla="*/ 360875 h 378518"/>
                <a:gd name="connsiteX7" fmla="*/ 1163225 w 1229043"/>
                <a:gd name="connsiteY7" fmla="*/ 378519 h 378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29043" h="378518">
                  <a:moveTo>
                    <a:pt x="1163225" y="378518"/>
                  </a:moveTo>
                  <a:cubicBezTo>
                    <a:pt x="1144956" y="378512"/>
                    <a:pt x="1127509" y="370922"/>
                    <a:pt x="1115050" y="357561"/>
                  </a:cubicBezTo>
                  <a:cubicBezTo>
                    <a:pt x="847404" y="70828"/>
                    <a:pt x="398166" y="54849"/>
                    <a:pt x="110824" y="321842"/>
                  </a:cubicBezTo>
                  <a:cubicBezTo>
                    <a:pt x="84182" y="346647"/>
                    <a:pt x="42476" y="345157"/>
                    <a:pt x="17671" y="318514"/>
                  </a:cubicBezTo>
                  <a:cubicBezTo>
                    <a:pt x="-7134" y="291871"/>
                    <a:pt x="-5644" y="250165"/>
                    <a:pt x="20999" y="225361"/>
                  </a:cubicBezTo>
                  <a:cubicBezTo>
                    <a:pt x="361687" y="-90942"/>
                    <a:pt x="894064" y="-71991"/>
                    <a:pt x="1211400" y="267736"/>
                  </a:cubicBezTo>
                  <a:cubicBezTo>
                    <a:pt x="1236186" y="294389"/>
                    <a:pt x="1234673" y="336089"/>
                    <a:pt x="1208020" y="360875"/>
                  </a:cubicBezTo>
                  <a:cubicBezTo>
                    <a:pt x="1195848" y="372195"/>
                    <a:pt x="1179848" y="378497"/>
                    <a:pt x="1163225" y="378519"/>
                  </a:cubicBezTo>
                  <a:close/>
                </a:path>
              </a:pathLst>
            </a:custGeom>
            <a:grpFill/>
            <a:ln w="659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488"/>
            </a:p>
          </p:txBody>
        </p:sp>
        <p:sp>
          <p:nvSpPr>
            <p:cNvPr id="177" name="Freeform: Shape 114">
              <a:extLst>
                <a:ext uri="{FF2B5EF4-FFF2-40B4-BE49-F238E27FC236}">
                  <a16:creationId xmlns:a16="http://schemas.microsoft.com/office/drawing/2014/main" id="{C2546290-B074-4930-A7D1-BCB5DF5C9162}"/>
                </a:ext>
              </a:extLst>
            </p:cNvPr>
            <p:cNvSpPr/>
            <p:nvPr/>
          </p:nvSpPr>
          <p:spPr>
            <a:xfrm>
              <a:off x="6319947" y="1711514"/>
              <a:ext cx="813588" cy="285193"/>
            </a:xfrm>
            <a:custGeom>
              <a:avLst/>
              <a:gdLst>
                <a:gd name="connsiteX0" fmla="*/ 747642 w 813588"/>
                <a:gd name="connsiteY0" fmla="*/ 285193 h 285193"/>
                <a:gd name="connsiteX1" fmla="*/ 699467 w 813588"/>
                <a:gd name="connsiteY1" fmla="*/ 264236 h 285193"/>
                <a:gd name="connsiteX2" fmla="*/ 110824 w 813588"/>
                <a:gd name="connsiteY2" fmla="*/ 243279 h 285193"/>
                <a:gd name="connsiteX3" fmla="*/ 17671 w 813588"/>
                <a:gd name="connsiteY3" fmla="*/ 239951 h 285193"/>
                <a:gd name="connsiteX4" fmla="*/ 20999 w 813588"/>
                <a:gd name="connsiteY4" fmla="*/ 146798 h 285193"/>
                <a:gd name="connsiteX5" fmla="*/ 795883 w 813588"/>
                <a:gd name="connsiteY5" fmla="*/ 174345 h 285193"/>
                <a:gd name="connsiteX6" fmla="*/ 792631 w 813588"/>
                <a:gd name="connsiteY6" fmla="*/ 267489 h 285193"/>
                <a:gd name="connsiteX7" fmla="*/ 747642 w 813588"/>
                <a:gd name="connsiteY7" fmla="*/ 285193 h 2851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13588" h="285193">
                  <a:moveTo>
                    <a:pt x="747642" y="285193"/>
                  </a:moveTo>
                  <a:cubicBezTo>
                    <a:pt x="729373" y="285187"/>
                    <a:pt x="711927" y="277597"/>
                    <a:pt x="699467" y="264236"/>
                  </a:cubicBezTo>
                  <a:cubicBezTo>
                    <a:pt x="542622" y="96083"/>
                    <a:pt x="279231" y="86706"/>
                    <a:pt x="110824" y="243279"/>
                  </a:cubicBezTo>
                  <a:cubicBezTo>
                    <a:pt x="84182" y="268084"/>
                    <a:pt x="42476" y="266594"/>
                    <a:pt x="17671" y="239951"/>
                  </a:cubicBezTo>
                  <a:cubicBezTo>
                    <a:pt x="-7134" y="213309"/>
                    <a:pt x="-5644" y="171602"/>
                    <a:pt x="20999" y="146798"/>
                  </a:cubicBezTo>
                  <a:cubicBezTo>
                    <a:pt x="242716" y="-59220"/>
                    <a:pt x="589355" y="-46897"/>
                    <a:pt x="795883" y="174345"/>
                  </a:cubicBezTo>
                  <a:cubicBezTo>
                    <a:pt x="820706" y="200964"/>
                    <a:pt x="819250" y="242666"/>
                    <a:pt x="792631" y="267489"/>
                  </a:cubicBezTo>
                  <a:cubicBezTo>
                    <a:pt x="780419" y="278876"/>
                    <a:pt x="764340" y="285204"/>
                    <a:pt x="747642" y="285193"/>
                  </a:cubicBezTo>
                  <a:close/>
                </a:path>
              </a:pathLst>
            </a:custGeom>
            <a:grpFill/>
            <a:ln w="659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488"/>
            </a:p>
          </p:txBody>
        </p:sp>
        <p:sp>
          <p:nvSpPr>
            <p:cNvPr id="178" name="Freeform: Shape 115">
              <a:extLst>
                <a:ext uri="{FF2B5EF4-FFF2-40B4-BE49-F238E27FC236}">
                  <a16:creationId xmlns:a16="http://schemas.microsoft.com/office/drawing/2014/main" id="{DFAE909E-28A7-42F5-834E-6440ABC0916B}"/>
                </a:ext>
              </a:extLst>
            </p:cNvPr>
            <p:cNvSpPr/>
            <p:nvPr/>
          </p:nvSpPr>
          <p:spPr>
            <a:xfrm>
              <a:off x="6653984" y="2256561"/>
              <a:ext cx="131805" cy="362464"/>
            </a:xfrm>
            <a:custGeom>
              <a:avLst/>
              <a:gdLst>
                <a:gd name="connsiteX0" fmla="*/ 65903 w 131805"/>
                <a:gd name="connsiteY0" fmla="*/ 362465 h 362464"/>
                <a:gd name="connsiteX1" fmla="*/ 0 w 131805"/>
                <a:gd name="connsiteY1" fmla="*/ 296562 h 362464"/>
                <a:gd name="connsiteX2" fmla="*/ 0 w 131805"/>
                <a:gd name="connsiteY2" fmla="*/ 65903 h 362464"/>
                <a:gd name="connsiteX3" fmla="*/ 65903 w 131805"/>
                <a:gd name="connsiteY3" fmla="*/ 0 h 362464"/>
                <a:gd name="connsiteX4" fmla="*/ 131805 w 131805"/>
                <a:gd name="connsiteY4" fmla="*/ 65903 h 362464"/>
                <a:gd name="connsiteX5" fmla="*/ 131805 w 131805"/>
                <a:gd name="connsiteY5" fmla="*/ 296562 h 362464"/>
                <a:gd name="connsiteX6" fmla="*/ 65903 w 131805"/>
                <a:gd name="connsiteY6" fmla="*/ 362465 h 3624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31805" h="362464">
                  <a:moveTo>
                    <a:pt x="65903" y="362465"/>
                  </a:moveTo>
                  <a:cubicBezTo>
                    <a:pt x="29506" y="362465"/>
                    <a:pt x="0" y="332959"/>
                    <a:pt x="0" y="296562"/>
                  </a:cubicBezTo>
                  <a:lnTo>
                    <a:pt x="0" y="65903"/>
                  </a:lnTo>
                  <a:cubicBezTo>
                    <a:pt x="0" y="29506"/>
                    <a:pt x="29506" y="0"/>
                    <a:pt x="65903" y="0"/>
                  </a:cubicBezTo>
                  <a:cubicBezTo>
                    <a:pt x="102300" y="0"/>
                    <a:pt x="131805" y="29506"/>
                    <a:pt x="131805" y="65903"/>
                  </a:cubicBezTo>
                  <a:lnTo>
                    <a:pt x="131805" y="296562"/>
                  </a:lnTo>
                  <a:cubicBezTo>
                    <a:pt x="131805" y="332959"/>
                    <a:pt x="102300" y="362465"/>
                    <a:pt x="65903" y="362465"/>
                  </a:cubicBezTo>
                  <a:close/>
                </a:path>
              </a:pathLst>
            </a:custGeom>
            <a:grpFill/>
            <a:ln w="659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488"/>
            </a:p>
          </p:txBody>
        </p:sp>
        <p:sp>
          <p:nvSpPr>
            <p:cNvPr id="179" name="Freeform: Shape 116">
              <a:extLst>
                <a:ext uri="{FF2B5EF4-FFF2-40B4-BE49-F238E27FC236}">
                  <a16:creationId xmlns:a16="http://schemas.microsoft.com/office/drawing/2014/main" id="{9E088976-41CE-4E43-BCC6-1113444B4E53}"/>
                </a:ext>
              </a:extLst>
            </p:cNvPr>
            <p:cNvSpPr/>
            <p:nvPr/>
          </p:nvSpPr>
          <p:spPr>
            <a:xfrm>
              <a:off x="6507460" y="1962833"/>
              <a:ext cx="425786" cy="425599"/>
            </a:xfrm>
            <a:custGeom>
              <a:avLst/>
              <a:gdLst>
                <a:gd name="connsiteX0" fmla="*/ 212888 w 425786"/>
                <a:gd name="connsiteY0" fmla="*/ 425600 h 425599"/>
                <a:gd name="connsiteX1" fmla="*/ 0 w 425786"/>
                <a:gd name="connsiteY1" fmla="*/ 213152 h 425599"/>
                <a:gd name="connsiteX2" fmla="*/ 62432 w 425786"/>
                <a:gd name="connsiteY2" fmla="*/ 62410 h 425599"/>
                <a:gd name="connsiteX3" fmla="*/ 363376 w 425786"/>
                <a:gd name="connsiteY3" fmla="*/ 62245 h 425599"/>
                <a:gd name="connsiteX4" fmla="*/ 363541 w 425786"/>
                <a:gd name="connsiteY4" fmla="*/ 363190 h 425599"/>
                <a:gd name="connsiteX5" fmla="*/ 212888 w 425786"/>
                <a:gd name="connsiteY5" fmla="*/ 425600 h 425599"/>
                <a:gd name="connsiteX6" fmla="*/ 155619 w 425786"/>
                <a:gd name="connsiteY6" fmla="*/ 155398 h 425599"/>
                <a:gd name="connsiteX7" fmla="*/ 155614 w 425786"/>
                <a:gd name="connsiteY7" fmla="*/ 269942 h 425599"/>
                <a:gd name="connsiteX8" fmla="*/ 270157 w 425786"/>
                <a:gd name="connsiteY8" fmla="*/ 269946 h 425599"/>
                <a:gd name="connsiteX9" fmla="*/ 270162 w 425786"/>
                <a:gd name="connsiteY9" fmla="*/ 155403 h 425599"/>
                <a:gd name="connsiteX10" fmla="*/ 270157 w 425786"/>
                <a:gd name="connsiteY10" fmla="*/ 155398 h 425599"/>
                <a:gd name="connsiteX11" fmla="*/ 155619 w 425786"/>
                <a:gd name="connsiteY11" fmla="*/ 155398 h 4255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425786" h="425599">
                  <a:moveTo>
                    <a:pt x="212888" y="425600"/>
                  </a:moveTo>
                  <a:cubicBezTo>
                    <a:pt x="95435" y="425721"/>
                    <a:pt x="122" y="330605"/>
                    <a:pt x="0" y="213152"/>
                  </a:cubicBezTo>
                  <a:cubicBezTo>
                    <a:pt x="-58" y="156602"/>
                    <a:pt x="22408" y="102358"/>
                    <a:pt x="62432" y="62410"/>
                  </a:cubicBezTo>
                  <a:cubicBezTo>
                    <a:pt x="145490" y="-20739"/>
                    <a:pt x="280227" y="-20813"/>
                    <a:pt x="363376" y="62245"/>
                  </a:cubicBezTo>
                  <a:cubicBezTo>
                    <a:pt x="446525" y="145304"/>
                    <a:pt x="446599" y="280041"/>
                    <a:pt x="363541" y="363190"/>
                  </a:cubicBezTo>
                  <a:cubicBezTo>
                    <a:pt x="323602" y="403172"/>
                    <a:pt x="269400" y="425626"/>
                    <a:pt x="212888" y="425600"/>
                  </a:cubicBezTo>
                  <a:close/>
                  <a:moveTo>
                    <a:pt x="155619" y="155398"/>
                  </a:moveTo>
                  <a:cubicBezTo>
                    <a:pt x="123987" y="187028"/>
                    <a:pt x="123985" y="238310"/>
                    <a:pt x="155614" y="269942"/>
                  </a:cubicBezTo>
                  <a:cubicBezTo>
                    <a:pt x="187243" y="301573"/>
                    <a:pt x="238526" y="301575"/>
                    <a:pt x="270157" y="269946"/>
                  </a:cubicBezTo>
                  <a:cubicBezTo>
                    <a:pt x="301789" y="238317"/>
                    <a:pt x="301791" y="187035"/>
                    <a:pt x="270162" y="155403"/>
                  </a:cubicBezTo>
                  <a:cubicBezTo>
                    <a:pt x="270160" y="155402"/>
                    <a:pt x="270159" y="155400"/>
                    <a:pt x="270157" y="155398"/>
                  </a:cubicBezTo>
                  <a:cubicBezTo>
                    <a:pt x="238497" y="123844"/>
                    <a:pt x="187278" y="123844"/>
                    <a:pt x="155619" y="155398"/>
                  </a:cubicBezTo>
                  <a:close/>
                </a:path>
              </a:pathLst>
            </a:custGeom>
            <a:grpFill/>
            <a:ln w="659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488"/>
            </a:p>
          </p:txBody>
        </p:sp>
        <p:sp>
          <p:nvSpPr>
            <p:cNvPr id="180" name="Freeform: Shape 117">
              <a:extLst>
                <a:ext uri="{FF2B5EF4-FFF2-40B4-BE49-F238E27FC236}">
                  <a16:creationId xmlns:a16="http://schemas.microsoft.com/office/drawing/2014/main" id="{493166A8-54E9-4BA6-98CB-74610FFB7A08}"/>
                </a:ext>
              </a:extLst>
            </p:cNvPr>
            <p:cNvSpPr/>
            <p:nvPr/>
          </p:nvSpPr>
          <p:spPr>
            <a:xfrm>
              <a:off x="5309010" y="2769680"/>
              <a:ext cx="2821900" cy="1154022"/>
            </a:xfrm>
            <a:custGeom>
              <a:avLst/>
              <a:gdLst>
                <a:gd name="connsiteX0" fmla="*/ 2755819 w 2821900"/>
                <a:gd name="connsiteY0" fmla="*/ 1154022 h 1154022"/>
                <a:gd name="connsiteX1" fmla="*/ 65934 w 2821900"/>
                <a:gd name="connsiteY1" fmla="*/ 1154022 h 1154022"/>
                <a:gd name="connsiteX2" fmla="*/ 0 w 2821900"/>
                <a:gd name="connsiteY2" fmla="*/ 1088151 h 1154022"/>
                <a:gd name="connsiteX3" fmla="*/ 1943 w 2821900"/>
                <a:gd name="connsiteY3" fmla="*/ 1072237 h 1154022"/>
                <a:gd name="connsiteX4" fmla="*/ 251911 w 2821900"/>
                <a:gd name="connsiteY4" fmla="*/ 64387 h 1154022"/>
                <a:gd name="connsiteX5" fmla="*/ 336201 w 2821900"/>
                <a:gd name="connsiteY5" fmla="*/ 0 h 1154022"/>
                <a:gd name="connsiteX6" fmla="*/ 2485552 w 2821900"/>
                <a:gd name="connsiteY6" fmla="*/ 0 h 1154022"/>
                <a:gd name="connsiteX7" fmla="*/ 2569512 w 2821900"/>
                <a:gd name="connsiteY7" fmla="*/ 62937 h 1154022"/>
                <a:gd name="connsiteX8" fmla="*/ 2819942 w 2821900"/>
                <a:gd name="connsiteY8" fmla="*/ 1072237 h 1154022"/>
                <a:gd name="connsiteX9" fmla="*/ 2771865 w 2821900"/>
                <a:gd name="connsiteY9" fmla="*/ 1152080 h 1154022"/>
                <a:gd name="connsiteX10" fmla="*/ 2755951 w 2821900"/>
                <a:gd name="connsiteY10" fmla="*/ 1154022 h 1154022"/>
                <a:gd name="connsiteX11" fmla="*/ 150158 w 2821900"/>
                <a:gd name="connsiteY11" fmla="*/ 1022217 h 1154022"/>
                <a:gd name="connsiteX12" fmla="*/ 2671595 w 2821900"/>
                <a:gd name="connsiteY12" fmla="*/ 1022217 h 1154022"/>
                <a:gd name="connsiteX13" fmla="*/ 2450821 w 2821900"/>
                <a:gd name="connsiteY13" fmla="*/ 131805 h 1154022"/>
                <a:gd name="connsiteX14" fmla="*/ 370998 w 2821900"/>
                <a:gd name="connsiteY14" fmla="*/ 131805 h 11540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821900" h="1154022">
                  <a:moveTo>
                    <a:pt x="2755819" y="1154022"/>
                  </a:moveTo>
                  <a:lnTo>
                    <a:pt x="65934" y="1154022"/>
                  </a:lnTo>
                  <a:cubicBezTo>
                    <a:pt x="29537" y="1154039"/>
                    <a:pt x="17" y="1124548"/>
                    <a:pt x="0" y="1088151"/>
                  </a:cubicBezTo>
                  <a:cubicBezTo>
                    <a:pt x="-3" y="1082787"/>
                    <a:pt x="650" y="1077443"/>
                    <a:pt x="1943" y="1072237"/>
                  </a:cubicBezTo>
                  <a:lnTo>
                    <a:pt x="251911" y="64387"/>
                  </a:lnTo>
                  <a:cubicBezTo>
                    <a:pt x="262419" y="26471"/>
                    <a:pt x="296856" y="165"/>
                    <a:pt x="336201" y="0"/>
                  </a:cubicBezTo>
                  <a:lnTo>
                    <a:pt x="2485552" y="0"/>
                  </a:lnTo>
                  <a:cubicBezTo>
                    <a:pt x="2524341" y="211"/>
                    <a:pt x="2558430" y="25764"/>
                    <a:pt x="2569512" y="62937"/>
                  </a:cubicBezTo>
                  <a:lnTo>
                    <a:pt x="2819942" y="1072237"/>
                  </a:lnTo>
                  <a:cubicBezTo>
                    <a:pt x="2828714" y="1107561"/>
                    <a:pt x="2807189" y="1143308"/>
                    <a:pt x="2771865" y="1152080"/>
                  </a:cubicBezTo>
                  <a:cubicBezTo>
                    <a:pt x="2766659" y="1153373"/>
                    <a:pt x="2761315" y="1154025"/>
                    <a:pt x="2755951" y="1154022"/>
                  </a:cubicBezTo>
                  <a:close/>
                  <a:moveTo>
                    <a:pt x="150158" y="1022217"/>
                  </a:moveTo>
                  <a:lnTo>
                    <a:pt x="2671595" y="1022217"/>
                  </a:lnTo>
                  <a:lnTo>
                    <a:pt x="2450821" y="131805"/>
                  </a:lnTo>
                  <a:lnTo>
                    <a:pt x="370998" y="131805"/>
                  </a:lnTo>
                  <a:close/>
                </a:path>
              </a:pathLst>
            </a:custGeom>
            <a:grpFill/>
            <a:ln w="659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488"/>
            </a:p>
          </p:txBody>
        </p:sp>
        <p:sp>
          <p:nvSpPr>
            <p:cNvPr id="181" name="Freeform: Shape 118">
              <a:extLst>
                <a:ext uri="{FF2B5EF4-FFF2-40B4-BE49-F238E27FC236}">
                  <a16:creationId xmlns:a16="http://schemas.microsoft.com/office/drawing/2014/main" id="{3DFF23F6-13A7-4DE5-AFCC-17189E68D5F7}"/>
                </a:ext>
              </a:extLst>
            </p:cNvPr>
            <p:cNvSpPr/>
            <p:nvPr/>
          </p:nvSpPr>
          <p:spPr>
            <a:xfrm>
              <a:off x="4959658" y="2506069"/>
              <a:ext cx="3520472" cy="1681243"/>
            </a:xfrm>
            <a:custGeom>
              <a:avLst/>
              <a:gdLst>
                <a:gd name="connsiteX0" fmla="*/ 3454521 w 3520472"/>
                <a:gd name="connsiteY0" fmla="*/ 1681244 h 1681243"/>
                <a:gd name="connsiteX1" fmla="*/ 65935 w 3520472"/>
                <a:gd name="connsiteY1" fmla="*/ 1681244 h 1681243"/>
                <a:gd name="connsiteX2" fmla="*/ 0 w 3520472"/>
                <a:gd name="connsiteY2" fmla="*/ 1615374 h 1681243"/>
                <a:gd name="connsiteX3" fmla="*/ 2076 w 3520472"/>
                <a:gd name="connsiteY3" fmla="*/ 1598931 h 1681243"/>
                <a:gd name="connsiteX4" fmla="*/ 347867 w 3520472"/>
                <a:gd name="connsiteY4" fmla="*/ 255109 h 1681243"/>
                <a:gd name="connsiteX5" fmla="*/ 685553 w 3520472"/>
                <a:gd name="connsiteY5" fmla="*/ 0 h 1681243"/>
                <a:gd name="connsiteX6" fmla="*/ 2834903 w 3520472"/>
                <a:gd name="connsiteY6" fmla="*/ 0 h 1681243"/>
                <a:gd name="connsiteX7" fmla="*/ 3171996 w 3520472"/>
                <a:gd name="connsiteY7" fmla="*/ 253132 h 1681243"/>
                <a:gd name="connsiteX8" fmla="*/ 3518381 w 3520472"/>
                <a:gd name="connsiteY8" fmla="*/ 1598931 h 1681243"/>
                <a:gd name="connsiteX9" fmla="*/ 3470963 w 3520472"/>
                <a:gd name="connsiteY9" fmla="*/ 1679168 h 1681243"/>
                <a:gd name="connsiteX10" fmla="*/ 3454521 w 3520472"/>
                <a:gd name="connsiteY10" fmla="*/ 1681244 h 1681243"/>
                <a:gd name="connsiteX11" fmla="*/ 150950 w 3520472"/>
                <a:gd name="connsiteY11" fmla="*/ 1549438 h 1681243"/>
                <a:gd name="connsiteX12" fmla="*/ 3369506 w 3520472"/>
                <a:gd name="connsiteY12" fmla="*/ 1549438 h 1681243"/>
                <a:gd name="connsiteX13" fmla="*/ 3044870 w 3520472"/>
                <a:gd name="connsiteY13" fmla="*/ 287929 h 1681243"/>
                <a:gd name="connsiteX14" fmla="*/ 2834903 w 3520472"/>
                <a:gd name="connsiteY14" fmla="*/ 131806 h 1681243"/>
                <a:gd name="connsiteX15" fmla="*/ 685553 w 3520472"/>
                <a:gd name="connsiteY15" fmla="*/ 131806 h 1681243"/>
                <a:gd name="connsiteX16" fmla="*/ 474994 w 3520472"/>
                <a:gd name="connsiteY16" fmla="*/ 289972 h 168124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520472" h="1681243">
                  <a:moveTo>
                    <a:pt x="3454521" y="1681244"/>
                  </a:moveTo>
                  <a:lnTo>
                    <a:pt x="65935" y="1681244"/>
                  </a:lnTo>
                  <a:cubicBezTo>
                    <a:pt x="29538" y="1681262"/>
                    <a:pt x="18" y="1651771"/>
                    <a:pt x="0" y="1615374"/>
                  </a:cubicBezTo>
                  <a:cubicBezTo>
                    <a:pt x="-3" y="1609828"/>
                    <a:pt x="695" y="1604303"/>
                    <a:pt x="2076" y="1598931"/>
                  </a:cubicBezTo>
                  <a:lnTo>
                    <a:pt x="347867" y="255109"/>
                  </a:lnTo>
                  <a:cubicBezTo>
                    <a:pt x="391449" y="104630"/>
                    <a:pt x="528892" y="798"/>
                    <a:pt x="685553" y="0"/>
                  </a:cubicBezTo>
                  <a:lnTo>
                    <a:pt x="2834903" y="0"/>
                  </a:lnTo>
                  <a:cubicBezTo>
                    <a:pt x="2990870" y="584"/>
                    <a:pt x="3127943" y="103516"/>
                    <a:pt x="3171996" y="253132"/>
                  </a:cubicBezTo>
                  <a:lnTo>
                    <a:pt x="3518381" y="1598931"/>
                  </a:lnTo>
                  <a:cubicBezTo>
                    <a:pt x="3527443" y="1634182"/>
                    <a:pt x="3506214" y="1670105"/>
                    <a:pt x="3470963" y="1679168"/>
                  </a:cubicBezTo>
                  <a:cubicBezTo>
                    <a:pt x="3465592" y="1680549"/>
                    <a:pt x="3460067" y="1681247"/>
                    <a:pt x="3454521" y="1681244"/>
                  </a:cubicBezTo>
                  <a:close/>
                  <a:moveTo>
                    <a:pt x="150950" y="1549438"/>
                  </a:moveTo>
                  <a:lnTo>
                    <a:pt x="3369506" y="1549438"/>
                  </a:lnTo>
                  <a:lnTo>
                    <a:pt x="3044870" y="287929"/>
                  </a:lnTo>
                  <a:cubicBezTo>
                    <a:pt x="3016837" y="195372"/>
                    <a:pt x="2931613" y="132002"/>
                    <a:pt x="2834903" y="131806"/>
                  </a:cubicBezTo>
                  <a:lnTo>
                    <a:pt x="685553" y="131806"/>
                  </a:lnTo>
                  <a:cubicBezTo>
                    <a:pt x="588134" y="132228"/>
                    <a:pt x="502536" y="196526"/>
                    <a:pt x="474994" y="289972"/>
                  </a:cubicBezTo>
                  <a:close/>
                </a:path>
              </a:pathLst>
            </a:custGeom>
            <a:grpFill/>
            <a:ln w="659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488"/>
            </a:p>
          </p:txBody>
        </p:sp>
        <p:sp>
          <p:nvSpPr>
            <p:cNvPr id="182" name="Freeform: Shape 119">
              <a:extLst>
                <a:ext uri="{FF2B5EF4-FFF2-40B4-BE49-F238E27FC236}">
                  <a16:creationId xmlns:a16="http://schemas.microsoft.com/office/drawing/2014/main" id="{0579C1AC-1A58-4C43-80D7-D0D97F98F824}"/>
                </a:ext>
              </a:extLst>
            </p:cNvPr>
            <p:cNvSpPr/>
            <p:nvPr/>
          </p:nvSpPr>
          <p:spPr>
            <a:xfrm>
              <a:off x="5929872" y="4854576"/>
              <a:ext cx="1580045" cy="781344"/>
            </a:xfrm>
            <a:custGeom>
              <a:avLst/>
              <a:gdLst>
                <a:gd name="connsiteX0" fmla="*/ 1514153 w 1580045"/>
                <a:gd name="connsiteY0" fmla="*/ 781345 h 781344"/>
                <a:gd name="connsiteX1" fmla="*/ 65875 w 1580045"/>
                <a:gd name="connsiteY1" fmla="*/ 781345 h 781344"/>
                <a:gd name="connsiteX2" fmla="*/ 0 w 1580045"/>
                <a:gd name="connsiteY2" fmla="*/ 715414 h 781344"/>
                <a:gd name="connsiteX3" fmla="*/ 2872 w 1580045"/>
                <a:gd name="connsiteY3" fmla="*/ 696198 h 781344"/>
                <a:gd name="connsiteX4" fmla="*/ 166706 w 1580045"/>
                <a:gd name="connsiteY4" fmla="*/ 159816 h 781344"/>
                <a:gd name="connsiteX5" fmla="*/ 382604 w 1580045"/>
                <a:gd name="connsiteY5" fmla="*/ 2 h 781344"/>
                <a:gd name="connsiteX6" fmla="*/ 1197425 w 1580045"/>
                <a:gd name="connsiteY6" fmla="*/ 2 h 781344"/>
                <a:gd name="connsiteX7" fmla="*/ 1413322 w 1580045"/>
                <a:gd name="connsiteY7" fmla="*/ 159816 h 781344"/>
                <a:gd name="connsiteX8" fmla="*/ 1577156 w 1580045"/>
                <a:gd name="connsiteY8" fmla="*/ 696198 h 781344"/>
                <a:gd name="connsiteX9" fmla="*/ 1533369 w 1580045"/>
                <a:gd name="connsiteY9" fmla="*/ 778473 h 781344"/>
                <a:gd name="connsiteX10" fmla="*/ 1514153 w 1580045"/>
                <a:gd name="connsiteY10" fmla="*/ 781345 h 781344"/>
                <a:gd name="connsiteX11" fmla="*/ 154910 w 1580045"/>
                <a:gd name="connsiteY11" fmla="*/ 649539 h 781344"/>
                <a:gd name="connsiteX12" fmla="*/ 1425119 w 1580045"/>
                <a:gd name="connsiteY12" fmla="*/ 649539 h 781344"/>
                <a:gd name="connsiteX13" fmla="*/ 1287316 w 1580045"/>
                <a:gd name="connsiteY13" fmla="*/ 198303 h 781344"/>
                <a:gd name="connsiteX14" fmla="*/ 1197425 w 1580045"/>
                <a:gd name="connsiteY14" fmla="*/ 131808 h 781344"/>
                <a:gd name="connsiteX15" fmla="*/ 382604 w 1580045"/>
                <a:gd name="connsiteY15" fmla="*/ 131807 h 781344"/>
                <a:gd name="connsiteX16" fmla="*/ 292712 w 1580045"/>
                <a:gd name="connsiteY16" fmla="*/ 198303 h 7813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580045" h="781344">
                  <a:moveTo>
                    <a:pt x="1514153" y="781345"/>
                  </a:moveTo>
                  <a:lnTo>
                    <a:pt x="65875" y="781345"/>
                  </a:lnTo>
                  <a:cubicBezTo>
                    <a:pt x="29478" y="781330"/>
                    <a:pt x="-15" y="751811"/>
                    <a:pt x="0" y="715414"/>
                  </a:cubicBezTo>
                  <a:cubicBezTo>
                    <a:pt x="3" y="708902"/>
                    <a:pt x="971" y="702427"/>
                    <a:pt x="2872" y="696198"/>
                  </a:cubicBezTo>
                  <a:lnTo>
                    <a:pt x="166706" y="159816"/>
                  </a:lnTo>
                  <a:cubicBezTo>
                    <a:pt x="195359" y="64625"/>
                    <a:pt x="283195" y="-394"/>
                    <a:pt x="382604" y="2"/>
                  </a:cubicBezTo>
                  <a:lnTo>
                    <a:pt x="1197425" y="2"/>
                  </a:lnTo>
                  <a:cubicBezTo>
                    <a:pt x="1296841" y="-416"/>
                    <a:pt x="1384689" y="64612"/>
                    <a:pt x="1413322" y="159816"/>
                  </a:cubicBezTo>
                  <a:lnTo>
                    <a:pt x="1577156" y="696198"/>
                  </a:lnTo>
                  <a:cubicBezTo>
                    <a:pt x="1587784" y="731009"/>
                    <a:pt x="1568180" y="767845"/>
                    <a:pt x="1533369" y="778473"/>
                  </a:cubicBezTo>
                  <a:cubicBezTo>
                    <a:pt x="1527141" y="780374"/>
                    <a:pt x="1520665" y="781342"/>
                    <a:pt x="1514153" y="781345"/>
                  </a:cubicBezTo>
                  <a:close/>
                  <a:moveTo>
                    <a:pt x="154910" y="649539"/>
                  </a:moveTo>
                  <a:lnTo>
                    <a:pt x="1425119" y="649539"/>
                  </a:lnTo>
                  <a:lnTo>
                    <a:pt x="1287316" y="198303"/>
                  </a:lnTo>
                  <a:cubicBezTo>
                    <a:pt x="1275362" y="158693"/>
                    <a:pt x="1238799" y="131647"/>
                    <a:pt x="1197425" y="131808"/>
                  </a:cubicBezTo>
                  <a:lnTo>
                    <a:pt x="382604" y="131807"/>
                  </a:lnTo>
                  <a:cubicBezTo>
                    <a:pt x="341229" y="131647"/>
                    <a:pt x="304667" y="158693"/>
                    <a:pt x="292712" y="198303"/>
                  </a:cubicBezTo>
                  <a:close/>
                </a:path>
              </a:pathLst>
            </a:custGeom>
            <a:grpFill/>
            <a:ln w="659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488"/>
            </a:p>
          </p:txBody>
        </p:sp>
        <p:sp>
          <p:nvSpPr>
            <p:cNvPr id="183" name="Freeform: Shape 120">
              <a:extLst>
                <a:ext uri="{FF2B5EF4-FFF2-40B4-BE49-F238E27FC236}">
                  <a16:creationId xmlns:a16="http://schemas.microsoft.com/office/drawing/2014/main" id="{9F9FB14D-9A61-4634-AB0D-1D8CDEBC8BD6}"/>
                </a:ext>
              </a:extLst>
            </p:cNvPr>
            <p:cNvSpPr/>
            <p:nvPr/>
          </p:nvSpPr>
          <p:spPr>
            <a:xfrm>
              <a:off x="6260149" y="5287558"/>
              <a:ext cx="919474" cy="131805"/>
            </a:xfrm>
            <a:custGeom>
              <a:avLst/>
              <a:gdLst>
                <a:gd name="connsiteX0" fmla="*/ 853572 w 919474"/>
                <a:gd name="connsiteY0" fmla="*/ 131805 h 131805"/>
                <a:gd name="connsiteX1" fmla="*/ 65903 w 919474"/>
                <a:gd name="connsiteY1" fmla="*/ 131805 h 131805"/>
                <a:gd name="connsiteX2" fmla="*/ 0 w 919474"/>
                <a:gd name="connsiteY2" fmla="*/ 65903 h 131805"/>
                <a:gd name="connsiteX3" fmla="*/ 65903 w 919474"/>
                <a:gd name="connsiteY3" fmla="*/ 0 h 131805"/>
                <a:gd name="connsiteX4" fmla="*/ 853572 w 919474"/>
                <a:gd name="connsiteY4" fmla="*/ 0 h 131805"/>
                <a:gd name="connsiteX5" fmla="*/ 919475 w 919474"/>
                <a:gd name="connsiteY5" fmla="*/ 65903 h 131805"/>
                <a:gd name="connsiteX6" fmla="*/ 853572 w 919474"/>
                <a:gd name="connsiteY6" fmla="*/ 131805 h 1318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919474" h="131805">
                  <a:moveTo>
                    <a:pt x="853572" y="131805"/>
                  </a:moveTo>
                  <a:lnTo>
                    <a:pt x="65903" y="131805"/>
                  </a:lnTo>
                  <a:cubicBezTo>
                    <a:pt x="29506" y="131805"/>
                    <a:pt x="0" y="102300"/>
                    <a:pt x="0" y="65903"/>
                  </a:cubicBezTo>
                  <a:cubicBezTo>
                    <a:pt x="0" y="29506"/>
                    <a:pt x="29506" y="0"/>
                    <a:pt x="65903" y="0"/>
                  </a:cubicBezTo>
                  <a:lnTo>
                    <a:pt x="853572" y="0"/>
                  </a:lnTo>
                  <a:cubicBezTo>
                    <a:pt x="889969" y="0"/>
                    <a:pt x="919475" y="29506"/>
                    <a:pt x="919475" y="65903"/>
                  </a:cubicBezTo>
                  <a:cubicBezTo>
                    <a:pt x="919475" y="102300"/>
                    <a:pt x="889969" y="131805"/>
                    <a:pt x="853572" y="131805"/>
                  </a:cubicBezTo>
                  <a:close/>
                </a:path>
              </a:pathLst>
            </a:custGeom>
            <a:grpFill/>
            <a:ln w="659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488"/>
            </a:p>
          </p:txBody>
        </p:sp>
        <p:sp>
          <p:nvSpPr>
            <p:cNvPr id="184" name="Freeform: Shape 121">
              <a:extLst>
                <a:ext uri="{FF2B5EF4-FFF2-40B4-BE49-F238E27FC236}">
                  <a16:creationId xmlns:a16="http://schemas.microsoft.com/office/drawing/2014/main" id="{9A19BA1F-6187-4555-A45C-AB64737819F3}"/>
                </a:ext>
              </a:extLst>
            </p:cNvPr>
            <p:cNvSpPr/>
            <p:nvPr/>
          </p:nvSpPr>
          <p:spPr>
            <a:xfrm>
              <a:off x="7678507" y="4468718"/>
              <a:ext cx="728488" cy="728487"/>
            </a:xfrm>
            <a:custGeom>
              <a:avLst/>
              <a:gdLst>
                <a:gd name="connsiteX0" fmla="*/ 363519 w 728488"/>
                <a:gd name="connsiteY0" fmla="*/ 728488 h 728487"/>
                <a:gd name="connsiteX1" fmla="*/ 1 w 728488"/>
                <a:gd name="connsiteY1" fmla="*/ 363519 h 728487"/>
                <a:gd name="connsiteX2" fmla="*/ 364969 w 728488"/>
                <a:gd name="connsiteY2" fmla="*/ 1 h 728487"/>
                <a:gd name="connsiteX3" fmla="*/ 728489 w 728488"/>
                <a:gd name="connsiteY3" fmla="*/ 364244 h 728487"/>
                <a:gd name="connsiteX4" fmla="*/ 363519 w 728488"/>
                <a:gd name="connsiteY4" fmla="*/ 728488 h 728487"/>
                <a:gd name="connsiteX5" fmla="*/ 363519 w 728488"/>
                <a:gd name="connsiteY5" fmla="*/ 131871 h 728487"/>
                <a:gd name="connsiteX6" fmla="*/ 131806 w 728488"/>
                <a:gd name="connsiteY6" fmla="*/ 365033 h 728487"/>
                <a:gd name="connsiteX7" fmla="*/ 364969 w 728488"/>
                <a:gd name="connsiteY7" fmla="*/ 596746 h 728487"/>
                <a:gd name="connsiteX8" fmla="*/ 596683 w 728488"/>
                <a:gd name="connsiteY8" fmla="*/ 364244 h 728487"/>
                <a:gd name="connsiteX9" fmla="*/ 363652 w 728488"/>
                <a:gd name="connsiteY9" fmla="*/ 131870 h 728487"/>
                <a:gd name="connsiteX10" fmla="*/ 363519 w 728488"/>
                <a:gd name="connsiteY10" fmla="*/ 131871 h 7284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728488" h="728487">
                  <a:moveTo>
                    <a:pt x="363519" y="728488"/>
                  </a:moveTo>
                  <a:cubicBezTo>
                    <a:pt x="162353" y="728087"/>
                    <a:pt x="-400" y="564686"/>
                    <a:pt x="1" y="363519"/>
                  </a:cubicBezTo>
                  <a:cubicBezTo>
                    <a:pt x="401" y="162353"/>
                    <a:pt x="163803" y="-400"/>
                    <a:pt x="364969" y="1"/>
                  </a:cubicBezTo>
                  <a:cubicBezTo>
                    <a:pt x="565852" y="400"/>
                    <a:pt x="728488" y="163360"/>
                    <a:pt x="728489" y="364244"/>
                  </a:cubicBezTo>
                  <a:cubicBezTo>
                    <a:pt x="728270" y="565603"/>
                    <a:pt x="564879" y="728670"/>
                    <a:pt x="363519" y="728488"/>
                  </a:cubicBezTo>
                  <a:close/>
                  <a:moveTo>
                    <a:pt x="363519" y="131871"/>
                  </a:moveTo>
                  <a:cubicBezTo>
                    <a:pt x="235147" y="132271"/>
                    <a:pt x="131406" y="236661"/>
                    <a:pt x="131806" y="365033"/>
                  </a:cubicBezTo>
                  <a:cubicBezTo>
                    <a:pt x="132207" y="493405"/>
                    <a:pt x="236597" y="597146"/>
                    <a:pt x="364969" y="596746"/>
                  </a:cubicBezTo>
                  <a:cubicBezTo>
                    <a:pt x="493083" y="596347"/>
                    <a:pt x="596719" y="492358"/>
                    <a:pt x="596683" y="364244"/>
                  </a:cubicBezTo>
                  <a:cubicBezTo>
                    <a:pt x="596501" y="235726"/>
                    <a:pt x="492170" y="131688"/>
                    <a:pt x="363652" y="131870"/>
                  </a:cubicBezTo>
                  <a:cubicBezTo>
                    <a:pt x="363607" y="131870"/>
                    <a:pt x="363563" y="131871"/>
                    <a:pt x="363519" y="131871"/>
                  </a:cubicBezTo>
                  <a:close/>
                </a:path>
              </a:pathLst>
            </a:custGeom>
            <a:grpFill/>
            <a:ln w="659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488"/>
            </a:p>
          </p:txBody>
        </p:sp>
        <p:sp>
          <p:nvSpPr>
            <p:cNvPr id="185" name="Freeform: Shape 122">
              <a:extLst>
                <a:ext uri="{FF2B5EF4-FFF2-40B4-BE49-F238E27FC236}">
                  <a16:creationId xmlns:a16="http://schemas.microsoft.com/office/drawing/2014/main" id="{2F1823A7-B8F1-4F74-AC95-A55781192682}"/>
                </a:ext>
              </a:extLst>
            </p:cNvPr>
            <p:cNvSpPr/>
            <p:nvPr/>
          </p:nvSpPr>
          <p:spPr>
            <a:xfrm>
              <a:off x="5033502" y="4468719"/>
              <a:ext cx="728488" cy="728487"/>
            </a:xfrm>
            <a:custGeom>
              <a:avLst/>
              <a:gdLst>
                <a:gd name="connsiteX0" fmla="*/ 363322 w 728488"/>
                <a:gd name="connsiteY0" fmla="*/ 728487 h 728487"/>
                <a:gd name="connsiteX1" fmla="*/ 1 w 728488"/>
                <a:gd name="connsiteY1" fmla="*/ 363322 h 728487"/>
                <a:gd name="connsiteX2" fmla="*/ 365167 w 728488"/>
                <a:gd name="connsiteY2" fmla="*/ 1 h 728487"/>
                <a:gd name="connsiteX3" fmla="*/ 728489 w 728488"/>
                <a:gd name="connsiteY3" fmla="*/ 364243 h 728487"/>
                <a:gd name="connsiteX4" fmla="*/ 363454 w 728488"/>
                <a:gd name="connsiteY4" fmla="*/ 728488 h 728487"/>
                <a:gd name="connsiteX5" fmla="*/ 363322 w 728488"/>
                <a:gd name="connsiteY5" fmla="*/ 728487 h 728487"/>
                <a:gd name="connsiteX6" fmla="*/ 363322 w 728488"/>
                <a:gd name="connsiteY6" fmla="*/ 131870 h 728487"/>
                <a:gd name="connsiteX7" fmla="*/ 131807 w 728488"/>
                <a:gd name="connsiteY7" fmla="*/ 365230 h 728487"/>
                <a:gd name="connsiteX8" fmla="*/ 365167 w 728488"/>
                <a:gd name="connsiteY8" fmla="*/ 596744 h 728487"/>
                <a:gd name="connsiteX9" fmla="*/ 596683 w 728488"/>
                <a:gd name="connsiteY9" fmla="*/ 364243 h 728487"/>
                <a:gd name="connsiteX10" fmla="*/ 363652 w 728488"/>
                <a:gd name="connsiteY10" fmla="*/ 131869 h 728487"/>
                <a:gd name="connsiteX11" fmla="*/ 363322 w 728488"/>
                <a:gd name="connsiteY11" fmla="*/ 131870 h 7284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728488" h="728487">
                  <a:moveTo>
                    <a:pt x="363322" y="728487"/>
                  </a:moveTo>
                  <a:cubicBezTo>
                    <a:pt x="162156" y="727978"/>
                    <a:pt x="-508" y="564487"/>
                    <a:pt x="1" y="363322"/>
                  </a:cubicBezTo>
                  <a:cubicBezTo>
                    <a:pt x="511" y="162156"/>
                    <a:pt x="164001" y="-508"/>
                    <a:pt x="365167" y="1"/>
                  </a:cubicBezTo>
                  <a:cubicBezTo>
                    <a:pt x="565972" y="510"/>
                    <a:pt x="728488" y="163437"/>
                    <a:pt x="728489" y="364243"/>
                  </a:cubicBezTo>
                  <a:cubicBezTo>
                    <a:pt x="728270" y="565628"/>
                    <a:pt x="564839" y="728706"/>
                    <a:pt x="363454" y="728488"/>
                  </a:cubicBezTo>
                  <a:cubicBezTo>
                    <a:pt x="363410" y="728488"/>
                    <a:pt x="363366" y="728488"/>
                    <a:pt x="363322" y="728487"/>
                  </a:cubicBezTo>
                  <a:close/>
                  <a:moveTo>
                    <a:pt x="363322" y="131870"/>
                  </a:moveTo>
                  <a:cubicBezTo>
                    <a:pt x="234950" y="132380"/>
                    <a:pt x="131298" y="236858"/>
                    <a:pt x="131807" y="365230"/>
                  </a:cubicBezTo>
                  <a:cubicBezTo>
                    <a:pt x="132317" y="493601"/>
                    <a:pt x="236796" y="597254"/>
                    <a:pt x="365167" y="596744"/>
                  </a:cubicBezTo>
                  <a:cubicBezTo>
                    <a:pt x="493203" y="596236"/>
                    <a:pt x="596718" y="492280"/>
                    <a:pt x="596683" y="364243"/>
                  </a:cubicBezTo>
                  <a:cubicBezTo>
                    <a:pt x="596502" y="235725"/>
                    <a:pt x="492170" y="131688"/>
                    <a:pt x="363652" y="131869"/>
                  </a:cubicBezTo>
                  <a:cubicBezTo>
                    <a:pt x="363542" y="131870"/>
                    <a:pt x="363432" y="131870"/>
                    <a:pt x="363322" y="131870"/>
                  </a:cubicBezTo>
                  <a:close/>
                </a:path>
              </a:pathLst>
            </a:custGeom>
            <a:grpFill/>
            <a:ln w="659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488"/>
            </a:p>
          </p:txBody>
        </p:sp>
        <p:sp>
          <p:nvSpPr>
            <p:cNvPr id="186" name="Freeform: Shape 123">
              <a:extLst>
                <a:ext uri="{FF2B5EF4-FFF2-40B4-BE49-F238E27FC236}">
                  <a16:creationId xmlns:a16="http://schemas.microsoft.com/office/drawing/2014/main" id="{E3721650-1B5F-4186-91AC-399EE650291A}"/>
                </a:ext>
              </a:extLst>
            </p:cNvPr>
            <p:cNvSpPr/>
            <p:nvPr/>
          </p:nvSpPr>
          <p:spPr>
            <a:xfrm>
              <a:off x="4629301" y="4055507"/>
              <a:ext cx="4181171" cy="1580412"/>
            </a:xfrm>
            <a:custGeom>
              <a:avLst/>
              <a:gdLst>
                <a:gd name="connsiteX0" fmla="*/ 3896781 w 4181171"/>
                <a:gd name="connsiteY0" fmla="*/ 1580413 h 1580412"/>
                <a:gd name="connsiteX1" fmla="*/ 284391 w 4181171"/>
                <a:gd name="connsiteY1" fmla="*/ 1580413 h 1580412"/>
                <a:gd name="connsiteX2" fmla="*/ 86 w 4181171"/>
                <a:gd name="connsiteY2" fmla="*/ 1296175 h 1580412"/>
                <a:gd name="connsiteX3" fmla="*/ 86 w 4181171"/>
                <a:gd name="connsiteY3" fmla="*/ 589170 h 1580412"/>
                <a:gd name="connsiteX4" fmla="*/ 371712 w 4181171"/>
                <a:gd name="connsiteY4" fmla="*/ 4745 h 1580412"/>
                <a:gd name="connsiteX5" fmla="*/ 396293 w 4181171"/>
                <a:gd name="connsiteY5" fmla="*/ 0 h 1580412"/>
                <a:gd name="connsiteX6" fmla="*/ 3784879 w 4181171"/>
                <a:gd name="connsiteY6" fmla="*/ 0 h 1580412"/>
                <a:gd name="connsiteX7" fmla="*/ 3809460 w 4181171"/>
                <a:gd name="connsiteY7" fmla="*/ 4745 h 1580412"/>
                <a:gd name="connsiteX8" fmla="*/ 4181086 w 4181171"/>
                <a:gd name="connsiteY8" fmla="*/ 589170 h 1580412"/>
                <a:gd name="connsiteX9" fmla="*/ 4181086 w 4181171"/>
                <a:gd name="connsiteY9" fmla="*/ 1296175 h 1580412"/>
                <a:gd name="connsiteX10" fmla="*/ 3896781 w 4181171"/>
                <a:gd name="connsiteY10" fmla="*/ 1580413 h 1580412"/>
                <a:gd name="connsiteX11" fmla="*/ 410528 w 4181171"/>
                <a:gd name="connsiteY11" fmla="*/ 131805 h 1580412"/>
                <a:gd name="connsiteX12" fmla="*/ 132023 w 4181171"/>
                <a:gd name="connsiteY12" fmla="*/ 589170 h 1580412"/>
                <a:gd name="connsiteX13" fmla="*/ 132023 w 4181171"/>
                <a:gd name="connsiteY13" fmla="*/ 1296175 h 1580412"/>
                <a:gd name="connsiteX14" fmla="*/ 284522 w 4181171"/>
                <a:gd name="connsiteY14" fmla="*/ 1448608 h 1580412"/>
                <a:gd name="connsiteX15" fmla="*/ 3896781 w 4181171"/>
                <a:gd name="connsiteY15" fmla="*/ 1448608 h 1580412"/>
                <a:gd name="connsiteX16" fmla="*/ 4049280 w 4181171"/>
                <a:gd name="connsiteY16" fmla="*/ 1296175 h 1580412"/>
                <a:gd name="connsiteX17" fmla="*/ 4049280 w 4181171"/>
                <a:gd name="connsiteY17" fmla="*/ 589170 h 1580412"/>
                <a:gd name="connsiteX18" fmla="*/ 3770644 w 4181171"/>
                <a:gd name="connsiteY18" fmla="*/ 131806 h 15804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4181171" h="1580412">
                  <a:moveTo>
                    <a:pt x="3896781" y="1580413"/>
                  </a:moveTo>
                  <a:lnTo>
                    <a:pt x="284391" y="1580413"/>
                  </a:lnTo>
                  <a:cubicBezTo>
                    <a:pt x="127460" y="1580268"/>
                    <a:pt x="268" y="1453106"/>
                    <a:pt x="86" y="1296175"/>
                  </a:cubicBezTo>
                  <a:lnTo>
                    <a:pt x="86" y="589170"/>
                  </a:lnTo>
                  <a:cubicBezTo>
                    <a:pt x="-4067" y="337571"/>
                    <a:pt x="142104" y="107700"/>
                    <a:pt x="371712" y="4745"/>
                  </a:cubicBezTo>
                  <a:cubicBezTo>
                    <a:pt x="379532" y="1623"/>
                    <a:pt x="387873" y="13"/>
                    <a:pt x="396293" y="0"/>
                  </a:cubicBezTo>
                  <a:lnTo>
                    <a:pt x="3784879" y="0"/>
                  </a:lnTo>
                  <a:cubicBezTo>
                    <a:pt x="3793299" y="13"/>
                    <a:pt x="3801640" y="1623"/>
                    <a:pt x="3809460" y="4745"/>
                  </a:cubicBezTo>
                  <a:cubicBezTo>
                    <a:pt x="4039068" y="107700"/>
                    <a:pt x="4185239" y="337571"/>
                    <a:pt x="4181086" y="589170"/>
                  </a:cubicBezTo>
                  <a:lnTo>
                    <a:pt x="4181086" y="1296175"/>
                  </a:lnTo>
                  <a:cubicBezTo>
                    <a:pt x="4180904" y="1453106"/>
                    <a:pt x="4053712" y="1580268"/>
                    <a:pt x="3896781" y="1580413"/>
                  </a:cubicBezTo>
                  <a:close/>
                  <a:moveTo>
                    <a:pt x="410528" y="131805"/>
                  </a:moveTo>
                  <a:cubicBezTo>
                    <a:pt x="236715" y="217198"/>
                    <a:pt x="128109" y="395552"/>
                    <a:pt x="132023" y="589170"/>
                  </a:cubicBezTo>
                  <a:lnTo>
                    <a:pt x="132023" y="1296175"/>
                  </a:lnTo>
                  <a:cubicBezTo>
                    <a:pt x="132132" y="1380341"/>
                    <a:pt x="200355" y="1448535"/>
                    <a:pt x="284522" y="1448608"/>
                  </a:cubicBezTo>
                  <a:lnTo>
                    <a:pt x="3896781" y="1448608"/>
                  </a:lnTo>
                  <a:cubicBezTo>
                    <a:pt x="3980948" y="1448535"/>
                    <a:pt x="4049171" y="1380341"/>
                    <a:pt x="4049280" y="1296175"/>
                  </a:cubicBezTo>
                  <a:lnTo>
                    <a:pt x="4049280" y="589170"/>
                  </a:lnTo>
                  <a:cubicBezTo>
                    <a:pt x="4052277" y="395765"/>
                    <a:pt x="3943884" y="217844"/>
                    <a:pt x="3770644" y="131806"/>
                  </a:cubicBezTo>
                  <a:close/>
                </a:path>
              </a:pathLst>
            </a:custGeom>
            <a:grpFill/>
            <a:ln w="6590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1488"/>
            </a:p>
          </p:txBody>
        </p:sp>
      </p:grpSp>
      <p:pic>
        <p:nvPicPr>
          <p:cNvPr id="188" name="Рисунок 187"/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7928667" y="240562"/>
            <a:ext cx="2182583" cy="517570"/>
          </a:xfrm>
          <a:prstGeom prst="rect">
            <a:avLst/>
          </a:prstGeom>
        </p:spPr>
      </p:pic>
      <p:sp>
        <p:nvSpPr>
          <p:cNvPr id="189" name="Номер слайда 1"/>
          <p:cNvSpPr txBox="1">
            <a:spLocks/>
          </p:cNvSpPr>
          <p:nvPr/>
        </p:nvSpPr>
        <p:spPr>
          <a:xfrm>
            <a:off x="7786794" y="7184765"/>
            <a:ext cx="2662784" cy="33999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4D9AA05C-72EC-4F9A-8F8A-11CCF44C0B56}" type="slidenum">
              <a:rPr lang="ru-RU" smtClean="0"/>
              <a:pPr algn="r"/>
              <a:t>5</a:t>
            </a:fld>
            <a:endParaRPr lang="ru-RU" dirty="0"/>
          </a:p>
        </p:txBody>
      </p:sp>
      <p:sp>
        <p:nvSpPr>
          <p:cNvPr id="22" name="Заголовок 2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2400" dirty="0">
                <a:ea typeface="Tahoma" panose="020B0604030504040204" pitchFamily="34" charset="0"/>
              </a:rPr>
              <a:t>ИННОВАЦИИ ГК АВТОДОР – </a:t>
            </a:r>
            <a:br>
              <a:rPr lang="ru-RU" sz="2400" dirty="0">
                <a:ea typeface="Tahoma" panose="020B0604030504040204" pitchFamily="34" charset="0"/>
              </a:rPr>
            </a:br>
            <a:r>
              <a:rPr lang="ru-RU" sz="2400" dirty="0">
                <a:ea typeface="Tahoma" panose="020B0604030504040204" pitchFamily="34" charset="0"/>
              </a:rPr>
              <a:t>НЕОТЪЕМЛЕМАЯ ЧАСТЬ РАЗВИТИЯ СЕТИ </a:t>
            </a:r>
            <a:endParaRPr lang="ru-RU" sz="2400" dirty="0"/>
          </a:p>
        </p:txBody>
      </p:sp>
    </p:spTree>
    <p:extLst>
      <p:ext uri="{BB962C8B-B14F-4D97-AF65-F5344CB8AC3E}">
        <p14:creationId xmlns:p14="http://schemas.microsoft.com/office/powerpoint/2010/main" val="275782956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O205BZ6Fb8hGDmIDWauc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bA2p4JCK.9POMgd6uEt.Q"/>
</p:tagLst>
</file>

<file path=ppt/theme/theme1.xml><?xml version="1.0" encoding="utf-8"?>
<a:theme xmlns:a="http://schemas.openxmlformats.org/drawingml/2006/main" name="Тема Office">
  <a:themeElements>
    <a:clrScheme name="Автодор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FF5100"/>
      </a:accent1>
      <a:accent2>
        <a:srgbClr val="FFC000"/>
      </a:accent2>
      <a:accent3>
        <a:srgbClr val="7F7F7F"/>
      </a:accent3>
      <a:accent4>
        <a:srgbClr val="00B050"/>
      </a:accent4>
      <a:accent5>
        <a:srgbClr val="1887D2"/>
      </a:accent5>
      <a:accent6>
        <a:srgbClr val="414599"/>
      </a:accent6>
      <a:hlink>
        <a:srgbClr val="0563C1"/>
      </a:hlink>
      <a:folHlink>
        <a:srgbClr val="954F72"/>
      </a:folHlink>
    </a:clrScheme>
    <a:fontScheme name="Тема 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Тема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Calibri"/>
        <a:font script="Hebr" typeface="Calibri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Calibri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Calibri"/>
        <a:font script="Hebr" typeface="Calibri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Calibri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2548</TotalTime>
  <Words>1076</Words>
  <Application>Microsoft Office PowerPoint</Application>
  <PresentationFormat>Произвольный</PresentationFormat>
  <Paragraphs>216</Paragraphs>
  <Slides>5</Slides>
  <Notes>3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3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5</vt:i4>
      </vt:variant>
    </vt:vector>
  </HeadingPairs>
  <TitlesOfParts>
    <vt:vector size="10" baseType="lpstr">
      <vt:lpstr>Calibri Light</vt:lpstr>
      <vt:lpstr>Calibri</vt:lpstr>
      <vt:lpstr>Arial</vt:lpstr>
      <vt:lpstr>Тема Office</vt:lpstr>
      <vt:lpstr>think-cell Slide</vt:lpstr>
      <vt:lpstr>Презентация PowerPoint</vt:lpstr>
      <vt:lpstr>ИТОГИ РАБОТЫ КОМПАНИИ 2010 – СЕНТЯБРЬ 2021</vt:lpstr>
      <vt:lpstr>ПЕРСПЕКТИВНЫЕ ПРОЕКТЫ СЕТИ СКОРОСТНЫХ АВТОМОБИЛЬНЫХ ДОРОГ</vt:lpstr>
      <vt:lpstr>КЛЮЧЕВЫЕ ОЖИДАЕМЫЕ РЕЗУЛЬТАТЫ РАЗВИТИЯ СЕТИ К 2035 ГОДУ</vt:lpstr>
      <vt:lpstr>ИННОВАЦИИ ГК АВТОДОР –  НЕОТЪЕМЛЕМАЯ ЧАСТЬ РАЗВИТИЯ СЕТИ </vt:lpstr>
    </vt:vector>
  </TitlesOfParts>
  <Company>Автодор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Рязанцев Сергей Александрович</dc:creator>
  <cp:lastModifiedBy>MSI_1</cp:lastModifiedBy>
  <cp:revision>217</cp:revision>
  <cp:lastPrinted>2020-01-16T13:50:41Z</cp:lastPrinted>
  <dcterms:created xsi:type="dcterms:W3CDTF">2020-01-15T06:37:19Z</dcterms:created>
  <dcterms:modified xsi:type="dcterms:W3CDTF">2021-09-13T18:47:10Z</dcterms:modified>
</cp:coreProperties>
</file>